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8" r:id="rId5"/>
    <p:sldId id="257" r:id="rId6"/>
    <p:sldId id="262" r:id="rId7"/>
    <p:sldId id="2408" r:id="rId8"/>
    <p:sldId id="2410" r:id="rId9"/>
    <p:sldId id="2411" r:id="rId10"/>
    <p:sldId id="2412" r:id="rId11"/>
    <p:sldId id="2416" r:id="rId12"/>
    <p:sldId id="2413" r:id="rId13"/>
    <p:sldId id="2414" r:id="rId14"/>
    <p:sldId id="2415" r:id="rId15"/>
    <p:sldId id="2417" r:id="rId16"/>
    <p:sldId id="2409" r:id="rId17"/>
  </p:sldIdLst>
  <p:sldSz cx="12192000" cy="6858000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UIA" id="{15D6A7BB-CFFF-4E24-883D-55CA9E8C505C}">
          <p14:sldIdLst>
            <p14:sldId id="258"/>
          </p14:sldIdLst>
        </p14:section>
        <p14:section name="0. Capa e Agenda" id="{79605AF9-E744-4C49-889F-D1FC2CB96171}">
          <p14:sldIdLst>
            <p14:sldId id="257"/>
            <p14:sldId id="262"/>
          </p14:sldIdLst>
        </p14:section>
        <p14:section name="1. Visão Geral - Resumo Executivo" id="{F7F22E42-EEAF-4763-B9AA-66BACE85ACEF}">
          <p14:sldIdLst>
            <p14:sldId id="2408"/>
          </p14:sldIdLst>
        </p14:section>
        <p14:section name="2. Produto" id="{525B3A4C-634C-481B-8ABD-EBF78F8B5B4D}">
          <p14:sldIdLst>
            <p14:sldId id="2410"/>
          </p14:sldIdLst>
        </p14:section>
        <p14:section name="3. Avaliação de Mercado" id="{A3E010DD-A6B7-4583-AC00-5A33984E790E}">
          <p14:sldIdLst>
            <p14:sldId id="2411"/>
          </p14:sldIdLst>
        </p14:section>
        <p14:section name="4. Indicadores e Checkpoints" id="{175A3572-3B0B-41AE-9828-3DF6F470FCB6}">
          <p14:sldIdLst>
            <p14:sldId id="2412"/>
          </p14:sldIdLst>
        </p14:section>
        <p14:section name="5. Cronograma" id="{D5339D0D-452E-4248-9957-EBFCBD8B199E}">
          <p14:sldIdLst>
            <p14:sldId id="2416"/>
            <p14:sldId id="2413"/>
          </p14:sldIdLst>
        </p14:section>
        <p14:section name="6. Custos e Contrapartidas" id="{ACBBEABF-578B-4309-A047-F2B056183CC3}">
          <p14:sldIdLst>
            <p14:sldId id="2414"/>
            <p14:sldId id="2415"/>
          </p14:sldIdLst>
        </p14:section>
        <p14:section name="7. Indicadores KRs" id="{C1CF0CC2-1C3E-4EE5-BE7A-5D2FB227C610}">
          <p14:sldIdLst>
            <p14:sldId id="2417"/>
          </p14:sldIdLst>
        </p14:section>
        <p14:section name="0. Fechamento" id="{12F2E14B-94E8-4219-8048-0005B09C7F96}">
          <p14:sldIdLst>
            <p14:sldId id="240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A93E48-617E-BCC4-2704-76F79E13BF1E}" name="Caio Oriente Pereira" initials="CO" userId="S::caio.pereira@cpfl.com.br::cf0d9a0a-e124-4c03-aa21-7658adfbd4b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0C342"/>
    <a:srgbClr val="01704E"/>
    <a:srgbClr val="2F528F"/>
    <a:srgbClr val="2E75B6"/>
    <a:srgbClr val="002060"/>
    <a:srgbClr val="97A8C7"/>
    <a:srgbClr val="F2F2F2"/>
    <a:srgbClr val="96BADA"/>
    <a:srgbClr val="7F8FAF"/>
    <a:srgbClr val="C9D9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C309D1-2A34-4DC2-B268-73BEA28752FA}" v="2" dt="2024-05-02T12:09:32.8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59" autoAdjust="0"/>
    <p:restoredTop sz="96727" autoAdjust="0"/>
  </p:normalViewPr>
  <p:slideViewPr>
    <p:cSldViewPr snapToGrid="0">
      <p:cViewPr varScale="1">
        <p:scale>
          <a:sx n="115" d="100"/>
          <a:sy n="115" d="100"/>
        </p:scale>
        <p:origin x="120" y="2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io Oriente Pereira" userId="cf0d9a0a-e124-4c03-aa21-7658adfbd4b5" providerId="ADAL" clId="{7BD7FAC7-96CC-446C-BD18-EB0B95B218A7}"/>
    <pc:docChg chg="undo redo custSel modSld">
      <pc:chgData name="Caio Oriente Pereira" userId="cf0d9a0a-e124-4c03-aa21-7658adfbd4b5" providerId="ADAL" clId="{7BD7FAC7-96CC-446C-BD18-EB0B95B218A7}" dt="2024-04-29T17:43:40.772" v="109" actId="6549"/>
      <pc:docMkLst>
        <pc:docMk/>
      </pc:docMkLst>
      <pc:sldChg chg="modSp mod">
        <pc:chgData name="Caio Oriente Pereira" userId="cf0d9a0a-e124-4c03-aa21-7658adfbd4b5" providerId="ADAL" clId="{7BD7FAC7-96CC-446C-BD18-EB0B95B218A7}" dt="2024-04-29T17:43:40.772" v="109" actId="6549"/>
        <pc:sldMkLst>
          <pc:docMk/>
          <pc:sldMk cId="4258814762" sldId="262"/>
        </pc:sldMkLst>
        <pc:spChg chg="mod">
          <ac:chgData name="Caio Oriente Pereira" userId="cf0d9a0a-e124-4c03-aa21-7658adfbd4b5" providerId="ADAL" clId="{7BD7FAC7-96CC-446C-BD18-EB0B95B218A7}" dt="2024-04-29T17:43:40.772" v="109" actId="6549"/>
          <ac:spMkLst>
            <pc:docMk/>
            <pc:sldMk cId="4258814762" sldId="262"/>
            <ac:spMk id="13" creationId="{7AB7744D-41FD-6211-89E8-61B76742CC36}"/>
          </ac:spMkLst>
        </pc:spChg>
      </pc:sldChg>
      <pc:sldChg chg="addSp delSp modSp mod">
        <pc:chgData name="Caio Oriente Pereira" userId="cf0d9a0a-e124-4c03-aa21-7658adfbd4b5" providerId="ADAL" clId="{7BD7FAC7-96CC-446C-BD18-EB0B95B218A7}" dt="2024-04-29T17:39:14.813" v="107" actId="255"/>
        <pc:sldMkLst>
          <pc:docMk/>
          <pc:sldMk cId="3857230441" sldId="2417"/>
        </pc:sldMkLst>
        <pc:spChg chg="mod">
          <ac:chgData name="Caio Oriente Pereira" userId="cf0d9a0a-e124-4c03-aa21-7658adfbd4b5" providerId="ADAL" clId="{7BD7FAC7-96CC-446C-BD18-EB0B95B218A7}" dt="2024-04-29T17:38:38.510" v="95" actId="20577"/>
          <ac:spMkLst>
            <pc:docMk/>
            <pc:sldMk cId="3857230441" sldId="2417"/>
            <ac:spMk id="3" creationId="{F86A07B5-28E2-8CA0-14EA-BABDD64447B8}"/>
          </ac:spMkLst>
        </pc:spChg>
        <pc:graphicFrameChg chg="add mod modGraphic">
          <ac:chgData name="Caio Oriente Pereira" userId="cf0d9a0a-e124-4c03-aa21-7658adfbd4b5" providerId="ADAL" clId="{7BD7FAC7-96CC-446C-BD18-EB0B95B218A7}" dt="2024-04-29T17:39:14.813" v="107" actId="255"/>
          <ac:graphicFrameMkLst>
            <pc:docMk/>
            <pc:sldMk cId="3857230441" sldId="2417"/>
            <ac:graphicFrameMk id="2" creationId="{86B9F953-74A0-F6C0-31B2-A271B589FF21}"/>
          </ac:graphicFrameMkLst>
        </pc:graphicFrameChg>
        <pc:graphicFrameChg chg="del mod modGraphic">
          <ac:chgData name="Caio Oriente Pereira" userId="cf0d9a0a-e124-4c03-aa21-7658adfbd4b5" providerId="ADAL" clId="{7BD7FAC7-96CC-446C-BD18-EB0B95B218A7}" dt="2024-04-29T17:37:23.258" v="3" actId="478"/>
          <ac:graphicFrameMkLst>
            <pc:docMk/>
            <pc:sldMk cId="3857230441" sldId="2417"/>
            <ac:graphicFrameMk id="4" creationId="{5AF4D1D7-A9C6-1648-B25E-892FEC1266C7}"/>
          </ac:graphicFrameMkLst>
        </pc:graphicFrameChg>
      </pc:sldChg>
    </pc:docChg>
  </pc:docChgLst>
  <pc:docChgLst>
    <pc:chgData name="Caio Oriente Pereira" userId="cf0d9a0a-e124-4c03-aa21-7658adfbd4b5" providerId="ADAL" clId="{D3C309D1-2A34-4DC2-B268-73BEA28752FA}"/>
    <pc:docChg chg="modMainMaster">
      <pc:chgData name="Caio Oriente Pereira" userId="cf0d9a0a-e124-4c03-aa21-7658adfbd4b5" providerId="ADAL" clId="{D3C309D1-2A34-4DC2-B268-73BEA28752FA}" dt="2024-05-02T12:09:32.829" v="1"/>
      <pc:docMkLst>
        <pc:docMk/>
      </pc:docMkLst>
      <pc:sldMasterChg chg="modSldLayout">
        <pc:chgData name="Caio Oriente Pereira" userId="cf0d9a0a-e124-4c03-aa21-7658adfbd4b5" providerId="ADAL" clId="{D3C309D1-2A34-4DC2-B268-73BEA28752FA}" dt="2024-05-02T12:09:32.829" v="1"/>
        <pc:sldMasterMkLst>
          <pc:docMk/>
          <pc:sldMasterMk cId="3321107531" sldId="2147483648"/>
        </pc:sldMasterMkLst>
        <pc:sldLayoutChg chg="addSp delSp modSp">
          <pc:chgData name="Caio Oriente Pereira" userId="cf0d9a0a-e124-4c03-aa21-7658adfbd4b5" providerId="ADAL" clId="{D3C309D1-2A34-4DC2-B268-73BEA28752FA}" dt="2024-05-02T12:09:32.829" v="1"/>
          <pc:sldLayoutMkLst>
            <pc:docMk/>
            <pc:sldMasterMk cId="3321107531" sldId="2147483648"/>
            <pc:sldLayoutMk cId="1612226065" sldId="2147483660"/>
          </pc:sldLayoutMkLst>
          <pc:picChg chg="add mod">
            <ac:chgData name="Caio Oriente Pereira" userId="cf0d9a0a-e124-4c03-aa21-7658adfbd4b5" providerId="ADAL" clId="{D3C309D1-2A34-4DC2-B268-73BEA28752FA}" dt="2024-05-02T12:09:32.829" v="1"/>
            <ac:picMkLst>
              <pc:docMk/>
              <pc:sldMasterMk cId="3321107531" sldId="2147483648"/>
              <pc:sldLayoutMk cId="1612226065" sldId="2147483660"/>
              <ac:picMk id="3" creationId="{AE1A6D1F-C4F1-CE47-3347-2176765CC69A}"/>
            </ac:picMkLst>
          </pc:picChg>
          <pc:picChg chg="del">
            <ac:chgData name="Caio Oriente Pereira" userId="cf0d9a0a-e124-4c03-aa21-7658adfbd4b5" providerId="ADAL" clId="{D3C309D1-2A34-4DC2-B268-73BEA28752FA}" dt="2024-05-02T12:09:32.443" v="0" actId="478"/>
            <ac:picMkLst>
              <pc:docMk/>
              <pc:sldMasterMk cId="3321107531" sldId="2147483648"/>
              <pc:sldLayoutMk cId="1612226065" sldId="2147483660"/>
              <ac:picMk id="5" creationId="{3FD211F5-1B32-BD63-424D-BD9D01DBF82F}"/>
            </ac:picMkLst>
          </pc:pic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4DF51C-BFD0-483E-BDCF-F4238AC46EC8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6CF21-126A-46F8-8BE3-8AD4EF3AAE3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0246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56CF21-126A-46F8-8BE3-8AD4EF3AAE32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63337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DF4097-A8CC-DA30-717A-C170E04936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>
            <a:extLst>
              <a:ext uri="{FF2B5EF4-FFF2-40B4-BE49-F238E27FC236}">
                <a16:creationId xmlns:a16="http://schemas.microsoft.com/office/drawing/2014/main" id="{8933E974-9ECB-ACA8-EE80-9B94686B05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>
            <a:extLst>
              <a:ext uri="{FF2B5EF4-FFF2-40B4-BE49-F238E27FC236}">
                <a16:creationId xmlns:a16="http://schemas.microsoft.com/office/drawing/2014/main" id="{832B5C7F-8246-D6FD-04CC-076A3580AA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E4814A1-31ED-6695-507C-FE40191AC15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16119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18847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606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0432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686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64897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834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95020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C3014-5D3F-1740-8BDC-4DDE997425F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pt-B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0407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50984A-7D7F-CCFA-D679-3EE79667C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35FAB07-95A4-93FE-AA06-7DF18DE74B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B555999-082C-9F48-7442-1CDE414BBD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1B0B4F8-D5F8-63FB-B33E-3528138C97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6E6E3C1-4D02-833D-4713-F565ABAEE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400474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B6F0808-A740-48F7-7007-7560B795DB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D0B54B1-DCDC-D416-9AC4-5F7C71B50A2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882F40-B75E-F854-B34F-8168524CB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ED36B21-5F48-EAE1-CF87-2C58C6DA7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5132DDE-3D2C-1E91-A20D-55B9E78D6A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535127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A2DE907-E45C-1ECC-80F5-2373B10D9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D6F50CB-66A7-B0F3-7BC5-B24F4DE0FB3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F4C00D1-C69F-8AD6-57B2-3FB0481659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D49B8F6-E271-0BA3-9B9F-1BF08BF35F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E71F45F-54C2-CCAF-7FF9-3FE43A9A3C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43506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com Único Canto Arredondado 1">
            <a:extLst>
              <a:ext uri="{FF2B5EF4-FFF2-40B4-BE49-F238E27FC236}">
                <a16:creationId xmlns:a16="http://schemas.microsoft.com/office/drawing/2014/main" id="{78322206-6586-7324-09A4-EDD0D52C765B}"/>
              </a:ext>
            </a:extLst>
          </p:cNvPr>
          <p:cNvSpPr>
            <a:spLocks/>
          </p:cNvSpPr>
          <p:nvPr userDrawn="1"/>
        </p:nvSpPr>
        <p:spPr>
          <a:xfrm rot="10800000" flipH="1">
            <a:off x="-10160" y="-10160"/>
            <a:ext cx="11594899" cy="902477"/>
          </a:xfrm>
          <a:prstGeom prst="round1Rect">
            <a:avLst>
              <a:gd name="adj" fmla="val 45148"/>
            </a:avLst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B8FF75F5-9821-044B-BDE6-C166D9B0DDCE}"/>
              </a:ext>
            </a:extLst>
          </p:cNvPr>
          <p:cNvSpPr txBox="1"/>
          <p:nvPr userDrawn="1"/>
        </p:nvSpPr>
        <p:spPr>
          <a:xfrm>
            <a:off x="-7635" y="967666"/>
            <a:ext cx="119049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60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02E74F7E-2473-1CAA-C220-A6E6D7F1DE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2576" y="6262273"/>
            <a:ext cx="668850" cy="491592"/>
          </a:xfrm>
          <a:prstGeom prst="rect">
            <a:avLst/>
          </a:prstGeom>
        </p:spPr>
      </p:pic>
      <p:pic>
        <p:nvPicPr>
          <p:cNvPr id="3" name="Imagem 2" descr="Logotipo&#10;&#10;Descrição gerada automaticamente">
            <a:extLst>
              <a:ext uri="{FF2B5EF4-FFF2-40B4-BE49-F238E27FC236}">
                <a16:creationId xmlns:a16="http://schemas.microsoft.com/office/drawing/2014/main" id="{AE1A6D1F-C4F1-CE47-3347-2176765CC6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1" t="19918" r="12935" b="4329"/>
          <a:stretch/>
        </p:blipFill>
        <p:spPr>
          <a:xfrm>
            <a:off x="10212070" y="6262273"/>
            <a:ext cx="1033714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26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351CA2F-2638-713C-2D88-78A5DB55B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DB0B0AE-A33B-578B-D505-4ACD957808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A1114B3-4896-4C8A-6451-EDB2FD25D9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B0AC0C06-F59B-1D81-93F8-4DE14361C2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AB9C808-E66F-4F0B-FB83-285E4B1013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75783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0A94D13-9827-A1E6-33A0-133ADD4D0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FEB4A93-2AE7-FEB8-AF23-F9CE3D2283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0B581A5-5FF4-2193-9886-8A0EB7C402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1186C9A-7390-A21B-38E6-189D456C4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BE706B6-CDEF-62BB-B917-96B176749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18792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3BE556B-34A6-0298-E82A-26B0E8CB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347C2FA-7E6B-DE96-EC56-F562CB23ED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FC96438A-0571-DFF9-8BB7-353174168F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90762B3F-3078-C705-9B69-BD9D877916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FD5BAA0-AB75-9A51-7145-9F5646A910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A923519-E8A5-A4E9-0FF2-DF84DB41A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563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2CAF413-F0BA-3CA0-129C-366D68C83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4827E0-CE4F-C6B9-9D51-1EB6C5B02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BCD1152-9F23-D410-D47D-C8D0BA9F0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F84092A1-C0F7-A392-8BF2-2CDC434909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5CF35435-524B-364C-BBC6-6984ED01DCF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EC0FE5DA-7D09-B2A7-E802-6A1A9B4477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7B5D640D-1103-DF8F-2330-61C58B84A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AABF0519-C4E9-D9BF-1588-E365A8DBDC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66076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7B55DF-D967-5444-51FF-48FFEF7AA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639D294A-C2B8-2A35-E6B1-A9AE411E0F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8D5B7693-76C0-8DDE-206F-FE0B8C48C5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F8D5FBE2-D2FF-6EA2-B2BA-6964D0553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04649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BE679E63-336D-DDBF-DA4D-9B8215DBD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372AE173-2FB4-592F-414D-2D1EFE4EC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AB43D717-4AD1-2E91-EBAB-8C699DA80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911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AF84764-7DEF-C887-C51A-E1E178AE15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68B1EC0-C179-45F9-C098-1376B3A3CE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8B46491-FE57-69B5-BA36-E2235563B4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6115CE1-1F97-3990-72D6-63DF4D7F0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65CC41C2-223A-FE49-2D9B-78687FD491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807102AB-D27D-E9C4-FFA8-CB5AAFB1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180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F9D7773-B213-862C-B276-5D4231461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4B15A436-6094-569A-85DA-B43018388D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1A25572-7BD6-618C-135C-1DF22C1191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04F67B-60AE-6470-C096-52FAD5D13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6D35CFC-1452-C6F3-7787-6ED8E35593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E3F9E69-2339-37D6-1159-EE135AA63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8814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3BEAC0F-EB30-FF1B-7CCB-C4A93B42DD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1228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5" imgW="395" imgH="396" progId="TCLayout.ActiveDocument.1">
                  <p:embed/>
                </p:oleObj>
              </mc:Choice>
              <mc:Fallback>
                <p:oleObj name="Slide do think-cell" r:id="rId15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BEAC0F-EB30-FF1B-7CCB-C4A93B42D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3AE5DF69-60F9-732E-EB9E-EDB7783CC5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FB13629-8665-6858-896C-7E076977A4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C9D773-053E-8DFB-C839-93B7A649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0310E-1249-46B8-8FDD-C6C2F49D3337}" type="datetimeFigureOut">
              <a:rPr lang="pt-BR" smtClean="0"/>
              <a:t>02/05/2024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957B187-5320-F860-7BAD-3957F96D35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CD51385-4867-C537-76CC-1FC93115C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B01225-A810-4237-BEA0-6F4C0155D2FC}" type="slidenum">
              <a:rPr lang="pt-BR" smtClean="0"/>
              <a:t>‹nº›</a:t>
            </a:fld>
            <a:endParaRPr lang="pt-BR"/>
          </a:p>
        </p:txBody>
      </p:sp>
      <p:sp>
        <p:nvSpPr>
          <p:cNvPr id="7" name="MSIPCMContentMarking" descr="{&quot;HashCode&quot;:-1133655239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7FD8EFD6-946D-4707-EDFB-46BA27B191E2}"/>
              </a:ext>
            </a:extLst>
          </p:cNvPr>
          <p:cNvSpPr txBox="1"/>
          <p:nvPr userDrawn="1"/>
        </p:nvSpPr>
        <p:spPr>
          <a:xfrm>
            <a:off x="0" y="0"/>
            <a:ext cx="117023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pt-BR" sz="1000">
                <a:solidFill>
                  <a:srgbClr val="0000FF"/>
                </a:solidFill>
                <a:latin typeface="Calibri" panose="020F0502020204030204" pitchFamily="34" charset="0"/>
              </a:rPr>
              <a:t>Uso Interno CPFL</a:t>
            </a:r>
          </a:p>
        </p:txBody>
      </p:sp>
    </p:spTree>
    <p:extLst>
      <p:ext uri="{BB962C8B-B14F-4D97-AF65-F5344CB8AC3E}">
        <p14:creationId xmlns:p14="http://schemas.microsoft.com/office/powerpoint/2010/main" val="332110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50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530" imgH="531" progId="TCLayout.ActiveDocument.1">
                  <p:embed/>
                </p:oleObj>
              </mc:Choice>
              <mc:Fallback>
                <p:oleObj name="Slide do think-cell" r:id="rId4" imgW="530" imgH="53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62181" y="97881"/>
            <a:ext cx="7867639" cy="639067"/>
          </a:xfrm>
        </p:spPr>
        <p:txBody>
          <a:bodyPr>
            <a:normAutofit fontScale="90000"/>
          </a:bodyPr>
          <a:lstStyle/>
          <a:p>
            <a:r>
              <a:rPr lang="pt-BR" dirty="0"/>
              <a:t>Guia para a Apresentação Execu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143354" y="918534"/>
            <a:ext cx="11833998" cy="5726106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2500" b="1" dirty="0"/>
              <a:t>Objetiv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2500" dirty="0"/>
              <a:t>Apresentar a solução proposta e os principais aspectos do projeto de forma executiva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pt-BR" sz="25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2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ientações gerai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contém uma relação do conteúdo necessário para elaboração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Cada seção pode ser elaborada em mais de 1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uma linguagem clara, direta e didática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Dê preferência para esquemáticos, fluxogramas, imagens e afins a textos longos, mas insira os textos necessários para entendimento autossuficiente do material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pt-BR" sz="2500" dirty="0">
                <a:solidFill>
                  <a:prstClr val="black"/>
                </a:solidFill>
              </a:rPr>
              <a:t>Use “</a:t>
            </a:r>
            <a:r>
              <a:rPr lang="pt-BR" sz="2500" dirty="0" err="1">
                <a:solidFill>
                  <a:prstClr val="black"/>
                </a:solidFill>
              </a:rPr>
              <a:t>action</a:t>
            </a:r>
            <a:r>
              <a:rPr lang="pt-BR" sz="2500" dirty="0">
                <a:solidFill>
                  <a:prstClr val="black"/>
                </a:solidFill>
              </a:rPr>
              <a:t> </a:t>
            </a:r>
            <a:r>
              <a:rPr lang="pt-BR" sz="2500" dirty="0" err="1">
                <a:solidFill>
                  <a:prstClr val="black"/>
                </a:solidFill>
              </a:rPr>
              <a:t>titles</a:t>
            </a:r>
            <a:r>
              <a:rPr lang="pt-BR" sz="2500" dirty="0">
                <a:solidFill>
                  <a:prstClr val="black"/>
                </a:solidFill>
              </a:rPr>
              <a:t>” ao invés de títulos pontuais para resumir o conteúdo de cada slide;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 </a:t>
            </a:r>
            <a:r>
              <a:rPr kumimoji="0" lang="pt-BR" sz="25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terial não deverá conter</a:t>
            </a:r>
            <a:r>
              <a:rPr lang="pt-BR" sz="2500" dirty="0">
                <a:solidFill>
                  <a:prstClr val="black"/>
                </a:solidFill>
              </a:rPr>
              <a:t> a</a:t>
            </a:r>
            <a:r>
              <a:rPr kumimoji="0" lang="pt-BR" sz="2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ação</a:t>
            </a:r>
            <a:r>
              <a:rPr kumimoji="0" lang="pt-BR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stitucional dos parceiros.</a:t>
            </a:r>
            <a:endParaRPr lang="pt-BR" sz="25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pt-BR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m 12" descr="Resultado de imagem para cpfl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3639" y="97881"/>
            <a:ext cx="633713" cy="57267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4" name="Grupo 13"/>
          <p:cNvGrpSpPr/>
          <p:nvPr/>
        </p:nvGrpSpPr>
        <p:grpSpPr>
          <a:xfrm>
            <a:off x="2936875" y="723192"/>
            <a:ext cx="6318250" cy="635"/>
            <a:chOff x="0" y="561680"/>
            <a:chExt cx="9144000" cy="1098"/>
          </a:xfrm>
        </p:grpSpPr>
        <p:cxnSp>
          <p:nvCxnSpPr>
            <p:cNvPr id="15" name="Straight Connector 11"/>
            <p:cNvCxnSpPr/>
            <p:nvPr/>
          </p:nvCxnSpPr>
          <p:spPr>
            <a:xfrm>
              <a:off x="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16A8DB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9"/>
            <p:cNvCxnSpPr/>
            <p:nvPr/>
          </p:nvCxnSpPr>
          <p:spPr>
            <a:xfrm>
              <a:off x="18288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F0871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20"/>
            <p:cNvCxnSpPr/>
            <p:nvPr/>
          </p:nvCxnSpPr>
          <p:spPr>
            <a:xfrm>
              <a:off x="36576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E21B27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21"/>
            <p:cNvCxnSpPr/>
            <p:nvPr/>
          </p:nvCxnSpPr>
          <p:spPr>
            <a:xfrm>
              <a:off x="54864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rgbClr val="8DBB2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23"/>
            <p:cNvCxnSpPr/>
            <p:nvPr/>
          </p:nvCxnSpPr>
          <p:spPr>
            <a:xfrm>
              <a:off x="7315200" y="561680"/>
              <a:ext cx="1828800" cy="1098"/>
            </a:xfrm>
            <a:prstGeom prst="line">
              <a:avLst/>
            </a:prstGeom>
            <a:noFill/>
            <a:ln w="3175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1753780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olidado dos custos do projeto por rubrica e instituição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lação dos principais itens qu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p</a:t>
            </a:r>
            <a:r>
              <a:rPr lang="pt-BR" dirty="0" err="1">
                <a:solidFill>
                  <a:srgbClr val="636463"/>
                </a:solidFill>
                <a:latin typeface="Tahoma"/>
              </a:rPr>
              <a:t>õem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os custos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tipos de recursos serão necessários para entrega das frentes de desenvolviment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e dados (tipo, detalhamento, periodicidade, volume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raestrutura (qual?, por quanto tempo?, frequência estimada?)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cursos Humanos (qual especialidade?, dedicação estimada [h], frequência das interações).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e quantificação das contrapartidas propostas pelos parceiros.</a:t>
            </a:r>
          </a:p>
        </p:txBody>
      </p:sp>
    </p:spTree>
    <p:extLst>
      <p:ext uri="{BB962C8B-B14F-4D97-AF65-F5344CB8AC3E}">
        <p14:creationId xmlns:p14="http://schemas.microsoft.com/office/powerpoint/2010/main" val="1042878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apontando as contrapartidas da proposta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2">
            <a:extLst>
              <a:ext uri="{FF2B5EF4-FFF2-40B4-BE49-F238E27FC236}">
                <a16:creationId xmlns:a16="http://schemas.microsoft.com/office/drawing/2014/main" id="{9626C707-67E1-8DAE-38E8-C969D11932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7248233"/>
              </p:ext>
            </p:extLst>
          </p:nvPr>
        </p:nvGraphicFramePr>
        <p:xfrm>
          <a:off x="604468" y="1085912"/>
          <a:ext cx="10619997" cy="5174798"/>
        </p:xfrm>
        <a:graphic>
          <a:graphicData uri="http://schemas.openxmlformats.org/drawingml/2006/table">
            <a:tbl>
              <a:tblPr/>
              <a:tblGrid>
                <a:gridCol w="16930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3460630878"/>
                    </a:ext>
                  </a:extLst>
                </a:gridCol>
                <a:gridCol w="15391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9304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73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532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ubrica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D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PFL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rceiro 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ceiro 2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231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ontrapartida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6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34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H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P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C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U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  <a:endParaRPr kumimoji="0" lang="pt-BR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>
                            <a:lumMod val="50000"/>
                          </a:prstClr>
                        </a:solidFill>
                        <a:effectLst/>
                        <a:uLnTx/>
                        <a:uFillTx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500" b="0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022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OTAL (</a:t>
                      </a:r>
                      <a:r>
                        <a:rPr lang="en-US" sz="1500" b="1" i="0" u="none" strike="noStrike" kern="1200" noProof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</a:t>
                      </a:r>
                      <a:r>
                        <a:rPr lang="en-US" sz="1500" b="1" i="0" u="none" strike="noStrike" kern="1200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$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pt-BR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>
                              <a:lumMod val="50000"/>
                            </a:prstClr>
                          </a:solidFill>
                          <a:effectLst/>
                          <a:uLnTx/>
                          <a:uFillTx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#,###.##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500" b="1" i="0" u="none" strike="noStrike" kern="12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0%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89898B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11626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EDE47E3-9545-908A-A61E-485A2243FF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BBC6097-0F33-2A87-AFBA-3CDE28C776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BC6097-0F33-2A87-AFBA-3CDE28C776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F86A07B5-28E2-8CA0-14EA-BABDD64447B8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sintetizando a contribuição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R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rojeto conforme indicadores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QuI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86B9F953-74A0-F6C0-31B2-A271B589FF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683997"/>
              </p:ext>
            </p:extLst>
          </p:nvPr>
        </p:nvGraphicFramePr>
        <p:xfrm>
          <a:off x="918604" y="1097745"/>
          <a:ext cx="10528492" cy="4963640"/>
        </p:xfrm>
        <a:graphic>
          <a:graphicData uri="http://schemas.openxmlformats.org/drawingml/2006/table">
            <a:tbl>
              <a:tblPr firstRow="1" bandRow="1"/>
              <a:tblGrid>
                <a:gridCol w="8311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928">
                  <a:extLst>
                    <a:ext uri="{9D8B030D-6E8A-4147-A177-3AD203B41FA5}">
                      <a16:colId xmlns:a16="http://schemas.microsoft.com/office/drawing/2014/main" val="2754438134"/>
                    </a:ext>
                  </a:extLst>
                </a:gridCol>
                <a:gridCol w="138532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9459">
                  <a:extLst>
                    <a:ext uri="{9D8B030D-6E8A-4147-A177-3AD203B41FA5}">
                      <a16:colId xmlns:a16="http://schemas.microsoft.com/office/drawing/2014/main" val="648461016"/>
                    </a:ext>
                  </a:extLst>
                </a:gridCol>
                <a:gridCol w="4571582">
                  <a:extLst>
                    <a:ext uri="{9D8B030D-6E8A-4147-A177-3AD203B41FA5}">
                      <a16:colId xmlns:a16="http://schemas.microsoft.com/office/drawing/2014/main" val="336036199"/>
                    </a:ext>
                  </a:extLst>
                </a:gridCol>
              </a:tblGrid>
              <a:tr h="612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13681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Tahoma"/>
                          <a:ea typeface="Tahoma"/>
                          <a:cs typeface="Tahoma"/>
                        </a:rPr>
                        <a:t>KR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E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 err="1">
                          <a:latin typeface="Tahoma"/>
                          <a:ea typeface="Tahoma"/>
                          <a:cs typeface="Tahoma"/>
                        </a:rPr>
                        <a:t>Descrição</a:t>
                      </a:r>
                      <a:r>
                        <a:rPr lang="en-US" sz="1500" dirty="0">
                          <a:latin typeface="Tahoma"/>
                          <a:ea typeface="Tahoma"/>
                          <a:cs typeface="Tahoma"/>
                        </a:rPr>
                        <a:t> do KR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0C24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Tahoma"/>
                        </a:defRPr>
                      </a:lvl9pPr>
                    </a:lstStyle>
                    <a:p>
                      <a:pPr algn="ctr" rtl="0"/>
                      <a:r>
                        <a:rPr lang="en-US" sz="1500" dirty="0">
                          <a:latin typeface="Tahoma"/>
                          <a:ea typeface="Tahoma"/>
                          <a:cs typeface="Tahoma"/>
                        </a:rPr>
                        <a:t>Peso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latinLnBrk="0" hangingPunct="1"/>
                      <a:r>
                        <a:rPr lang="en-US" sz="1500" b="1" kern="1200" noProof="0" dirty="0" err="1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Objetivo</a:t>
                      </a:r>
                      <a:r>
                        <a:rPr lang="en-US" sz="1500" b="1" kern="1200" noProof="0" dirty="0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 do </a:t>
                      </a:r>
                      <a:r>
                        <a:rPr lang="en-US" sz="1500" b="1" kern="1200" noProof="0" dirty="0" err="1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Projeto</a:t>
                      </a:r>
                      <a:endParaRPr lang="en-US" sz="1500" b="1" kern="1200" noProof="0" dirty="0">
                        <a:solidFill>
                          <a:schemeClr val="lt1"/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1C2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500" b="1" kern="1200" noProof="0" dirty="0" err="1">
                          <a:solidFill>
                            <a:schemeClr val="lt1"/>
                          </a:solidFill>
                          <a:latin typeface="Tahoma"/>
                          <a:ea typeface="Tahoma"/>
                          <a:cs typeface="Tahoma"/>
                        </a:rPr>
                        <a:t>Descrição</a:t>
                      </a:r>
                      <a:endParaRPr lang="en-US" sz="1500" b="1" kern="1200" noProof="0" dirty="0">
                        <a:solidFill>
                          <a:schemeClr val="lt1"/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E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20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2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eças Audiovisuais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chemeClr val="bg1">
                              <a:lumMod val="50000"/>
                            </a:schemeClr>
                          </a:solidFill>
                          <a:latin typeface="Tahoma"/>
                          <a:ea typeface="Tahoma"/>
                          <a:cs typeface="Tahoma"/>
                        </a:rPr>
                        <a:t>Gestão CPFL </a:t>
                      </a:r>
                      <a:endParaRPr lang="en-US" sz="13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966980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4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Retorno</a:t>
                      </a:r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 Financeiro</a:t>
                      </a:r>
                    </a:p>
                  </a:txBody>
                  <a:tcPr marL="108000" marR="36000" marT="36000" marB="36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01783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5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Utilização</a:t>
                      </a:r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 do </a:t>
                      </a:r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roduto</a:t>
                      </a: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0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8011982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9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ema </a:t>
                      </a:r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Estratégico</a:t>
                      </a: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0325968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5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RL &gt; 6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37807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6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Contrapartidas</a:t>
                      </a: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10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4369363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7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Titulações</a:t>
                      </a: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081803"/>
                  </a:ext>
                </a:extLst>
              </a:tr>
              <a:tr h="510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8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ropriedade Intelectual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114907"/>
                  </a:ext>
                </a:extLst>
              </a:tr>
              <a:tr h="41620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19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Publicações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15550"/>
                  </a:ext>
                </a:extLst>
              </a:tr>
              <a:tr h="5109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KR20</a:t>
                      </a:r>
                    </a:p>
                  </a:txBody>
                  <a:tcPr marL="18000" marR="18000" marT="18000" marB="1800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Investimentos</a:t>
                      </a:r>
                      <a:b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</a:br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N-NE-CO</a:t>
                      </a:r>
                    </a:p>
                  </a:txBody>
                  <a:tcPr marL="108000" marR="36000" marT="36000" marB="3600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algn="ctr" rtl="0" fontAlgn="ctr"/>
                      <a:r>
                        <a:rPr lang="en-US" sz="1300" b="0" i="0" u="none" strike="noStrike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5%</a:t>
                      </a:r>
                    </a:p>
                  </a:txBody>
                  <a:tcPr marL="18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300" b="0" i="0" u="none" strike="noStrike" dirty="0"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36000" marR="18000" marT="18000" marB="1800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Tahoma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300" b="0" kern="1200" baseline="0" noProof="0" dirty="0">
                        <a:solidFill>
                          <a:schemeClr val="bg1">
                            <a:lumMod val="50000"/>
                          </a:schemeClr>
                        </a:solidFill>
                        <a:latin typeface="Tahoma"/>
                        <a:ea typeface="Tahoma"/>
                        <a:cs typeface="Tahoma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89979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2304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101566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>
                <a:solidFill>
                  <a:schemeClr val="bg1"/>
                </a:solidFill>
                <a:latin typeface="Tahoma"/>
                <a:ea typeface="Tahoma"/>
                <a:cs typeface="Tahoma"/>
              </a:rPr>
              <a:t>04/2024</a:t>
            </a:r>
            <a:endParaRPr lang="pt-BR" sz="1500" dirty="0"/>
          </a:p>
        </p:txBody>
      </p:sp>
      <p:sp>
        <p:nvSpPr>
          <p:cNvPr id="2" name="Forma Livre 31">
            <a:extLst>
              <a:ext uri="{FF2B5EF4-FFF2-40B4-BE49-F238E27FC236}">
                <a16:creationId xmlns:a16="http://schemas.microsoft.com/office/drawing/2014/main" id="{6670951A-6872-B3CE-A707-E3F6FAAEE0E1}"/>
              </a:ext>
            </a:extLst>
          </p:cNvPr>
          <p:cNvSpPr/>
          <p:nvPr/>
        </p:nvSpPr>
        <p:spPr>
          <a:xfrm>
            <a:off x="10079" y="446"/>
            <a:ext cx="4764929" cy="3495949"/>
          </a:xfrm>
          <a:custGeom>
            <a:avLst/>
            <a:gdLst>
              <a:gd name="connsiteX0" fmla="*/ 0 w 8272971"/>
              <a:gd name="connsiteY0" fmla="*/ 0 h 5034986"/>
              <a:gd name="connsiteX1" fmla="*/ 8272970 w 8272971"/>
              <a:gd name="connsiteY1" fmla="*/ 0 h 5034986"/>
              <a:gd name="connsiteX2" fmla="*/ 8272970 w 8272971"/>
              <a:gd name="connsiteY2" fmla="*/ 3046139 h 5034986"/>
              <a:gd name="connsiteX3" fmla="*/ 8272971 w 8272971"/>
              <a:gd name="connsiteY3" fmla="*/ 3046139 h 5034986"/>
              <a:gd name="connsiteX4" fmla="*/ 8272971 w 8272971"/>
              <a:gd name="connsiteY4" fmla="*/ 3701212 h 5034986"/>
              <a:gd name="connsiteX5" fmla="*/ 6910831 w 8272971"/>
              <a:gd name="connsiteY5" fmla="*/ 5034986 h 5034986"/>
              <a:gd name="connsiteX6" fmla="*/ 0 w 8272971"/>
              <a:gd name="connsiteY6" fmla="*/ 5034986 h 5034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72971" h="5034986">
                <a:moveTo>
                  <a:pt x="0" y="0"/>
                </a:moveTo>
                <a:lnTo>
                  <a:pt x="8272970" y="0"/>
                </a:lnTo>
                <a:lnTo>
                  <a:pt x="8272970" y="3046139"/>
                </a:lnTo>
                <a:lnTo>
                  <a:pt x="8272971" y="3046139"/>
                </a:lnTo>
                <a:lnTo>
                  <a:pt x="8272971" y="3701212"/>
                </a:lnTo>
                <a:cubicBezTo>
                  <a:pt x="8272971" y="4437835"/>
                  <a:pt x="7663120" y="5034986"/>
                  <a:pt x="6910831" y="5034986"/>
                </a:cubicBezTo>
                <a:lnTo>
                  <a:pt x="0" y="5034986"/>
                </a:lnTo>
                <a:close/>
              </a:path>
            </a:pathLst>
          </a:custGeom>
          <a:solidFill>
            <a:srgbClr val="DEE5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7" name="Forma Livre 27">
            <a:extLst>
              <a:ext uri="{FF2B5EF4-FFF2-40B4-BE49-F238E27FC236}">
                <a16:creationId xmlns:a16="http://schemas.microsoft.com/office/drawing/2014/main" id="{AE04B691-430B-B63E-EA87-9169CBD12E7D}"/>
              </a:ext>
            </a:extLst>
          </p:cNvPr>
          <p:cNvSpPr/>
          <p:nvPr/>
        </p:nvSpPr>
        <p:spPr>
          <a:xfrm flipV="1">
            <a:off x="1" y="-1"/>
            <a:ext cx="3704618" cy="5442727"/>
          </a:xfrm>
          <a:custGeom>
            <a:avLst/>
            <a:gdLst>
              <a:gd name="connsiteX0" fmla="*/ 0 w 6485883"/>
              <a:gd name="connsiteY0" fmla="*/ 7934742 h 7934742"/>
              <a:gd name="connsiteX1" fmla="*/ 6485883 w 6485883"/>
              <a:gd name="connsiteY1" fmla="*/ 7934742 h 7934742"/>
              <a:gd name="connsiteX2" fmla="*/ 6485883 w 6485883"/>
              <a:gd name="connsiteY2" fmla="*/ 1547265 h 7934742"/>
              <a:gd name="connsiteX3" fmla="*/ 4916824 w 6485883"/>
              <a:gd name="connsiteY3" fmla="*/ 0 h 7934742"/>
              <a:gd name="connsiteX4" fmla="*/ 0 w 6485883"/>
              <a:gd name="connsiteY4" fmla="*/ 0 h 793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85883" h="7934742">
                <a:moveTo>
                  <a:pt x="0" y="7934742"/>
                </a:moveTo>
                <a:lnTo>
                  <a:pt x="6485883" y="7934742"/>
                </a:lnTo>
                <a:lnTo>
                  <a:pt x="6485883" y="1547265"/>
                </a:lnTo>
                <a:cubicBezTo>
                  <a:pt x="6485883" y="684052"/>
                  <a:pt x="5561831" y="10218"/>
                  <a:pt x="4916824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 dirty="0"/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556CE424-7CB5-3A63-10B3-A93D4B1D25CC}"/>
              </a:ext>
            </a:extLst>
          </p:cNvPr>
          <p:cNvSpPr txBox="1"/>
          <p:nvPr/>
        </p:nvSpPr>
        <p:spPr>
          <a:xfrm>
            <a:off x="853797" y="1510914"/>
            <a:ext cx="285082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32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igado!</a:t>
            </a:r>
            <a:endParaRPr lang="pt-BR" sz="32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90CA6E15-36B3-06E2-F2F7-65E17E0CE688}"/>
              </a:ext>
            </a:extLst>
          </p:cNvPr>
          <p:cNvSpPr txBox="1"/>
          <p:nvPr/>
        </p:nvSpPr>
        <p:spPr>
          <a:xfrm>
            <a:off x="962603" y="3504756"/>
            <a:ext cx="274201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pt-BR"/>
            </a:defPPr>
            <a:lvl1pPr marL="342900" indent="-342900">
              <a:buSzPct val="140000"/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pt-BR" dirty="0"/>
              <a:t>Contatos</a:t>
            </a: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DE15E447-3676-7FBB-AC9A-D225886728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28067" y="2257339"/>
            <a:ext cx="630877" cy="784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760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m 25">
            <a:extLst>
              <a:ext uri="{FF2B5EF4-FFF2-40B4-BE49-F238E27FC236}">
                <a16:creationId xmlns:a16="http://schemas.microsoft.com/office/drawing/2014/main" id="{8959DDB1-68E0-F67E-7D9B-14A48D98078F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6" b="3066"/>
          <a:stretch/>
        </p:blipFill>
        <p:spPr>
          <a:xfrm>
            <a:off x="0" y="895"/>
            <a:ext cx="12192000" cy="6857105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:a16="http://schemas.microsoft.com/office/drawing/2014/main" id="{CB02A419-6D58-1E66-1E3A-743533B69CCF}"/>
              </a:ext>
            </a:extLst>
          </p:cNvPr>
          <p:cNvGrpSpPr/>
          <p:nvPr/>
        </p:nvGrpSpPr>
        <p:grpSpPr>
          <a:xfrm rot="10800000" flipH="1" flipV="1">
            <a:off x="-571235" y="3159392"/>
            <a:ext cx="12763234" cy="3472227"/>
            <a:chOff x="7724873" y="4082137"/>
            <a:chExt cx="15972145" cy="4272472"/>
          </a:xfrm>
        </p:grpSpPr>
        <p:cxnSp>
          <p:nvCxnSpPr>
            <p:cNvPr id="9" name="Conector Reto 35">
              <a:extLst>
                <a:ext uri="{FF2B5EF4-FFF2-40B4-BE49-F238E27FC236}">
                  <a16:creationId xmlns:a16="http://schemas.microsoft.com/office/drawing/2014/main" id="{84B8E434-4692-ECD9-4C9C-92BB27DE8584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7724873" y="4082137"/>
              <a:ext cx="583283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Arco 9">
              <a:extLst>
                <a:ext uri="{FF2B5EF4-FFF2-40B4-BE49-F238E27FC236}">
                  <a16:creationId xmlns:a16="http://schemas.microsoft.com/office/drawing/2014/main" id="{5D3EB621-8414-378B-1C2F-D62065EA8D58}"/>
                </a:ext>
              </a:extLst>
            </p:cNvPr>
            <p:cNvSpPr/>
            <p:nvPr/>
          </p:nvSpPr>
          <p:spPr>
            <a:xfrm>
              <a:off x="12146779" y="4082137"/>
              <a:ext cx="2816932" cy="2816932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1" name="Conector Reto 37">
              <a:extLst>
                <a:ext uri="{FF2B5EF4-FFF2-40B4-BE49-F238E27FC236}">
                  <a16:creationId xmlns:a16="http://schemas.microsoft.com/office/drawing/2014/main" id="{942E6B6C-CB73-421A-E707-DEC95F431987}"/>
                </a:ext>
              </a:extLst>
            </p:cNvPr>
            <p:cNvCxnSpPr>
              <a:cxnSpLocks/>
            </p:cNvCxnSpPr>
            <p:nvPr/>
          </p:nvCxnSpPr>
          <p:spPr>
            <a:xfrm>
              <a:off x="11289222" y="6899069"/>
              <a:ext cx="2263239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Arco 11">
              <a:extLst>
                <a:ext uri="{FF2B5EF4-FFF2-40B4-BE49-F238E27FC236}">
                  <a16:creationId xmlns:a16="http://schemas.microsoft.com/office/drawing/2014/main" id="{157EFFEC-7837-37BA-C531-FA06EAFDECA9}"/>
                </a:ext>
              </a:extLst>
            </p:cNvPr>
            <p:cNvSpPr/>
            <p:nvPr/>
          </p:nvSpPr>
          <p:spPr>
            <a:xfrm rot="10800000">
              <a:off x="10560027" y="6899069"/>
              <a:ext cx="1448261" cy="1448261"/>
            </a:xfrm>
            <a:prstGeom prst="arc">
              <a:avLst>
                <a:gd name="adj1" fmla="val 16200000"/>
                <a:gd name="adj2" fmla="val 5423995"/>
              </a:avLst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 sz="1302"/>
            </a:p>
          </p:txBody>
        </p:sp>
        <p:cxnSp>
          <p:nvCxnSpPr>
            <p:cNvPr id="13" name="Conector Reto 39">
              <a:extLst>
                <a:ext uri="{FF2B5EF4-FFF2-40B4-BE49-F238E27FC236}">
                  <a16:creationId xmlns:a16="http://schemas.microsoft.com/office/drawing/2014/main" id="{15C33A19-211B-DD7A-2E8C-81C8922C8B8B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11284157" y="8354609"/>
              <a:ext cx="12412861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82E193B3-9107-382A-865C-F9367472BD36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21554205-5AB7-5790-9432-749AC3EE15A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  <p:sp>
        <p:nvSpPr>
          <p:cNvPr id="3" name="Forma Livre 23">
            <a:extLst>
              <a:ext uri="{FF2B5EF4-FFF2-40B4-BE49-F238E27FC236}">
                <a16:creationId xmlns:a16="http://schemas.microsoft.com/office/drawing/2014/main" id="{00C009F6-494D-2A97-487A-2B2C8E3F80D6}"/>
              </a:ext>
            </a:extLst>
          </p:cNvPr>
          <p:cNvSpPr/>
          <p:nvPr/>
        </p:nvSpPr>
        <p:spPr>
          <a:xfrm flipH="1">
            <a:off x="7814026" y="689641"/>
            <a:ext cx="4377972" cy="2530464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34954" y="3142383"/>
                  <a:pt x="6316879" y="2834198"/>
                  <a:pt x="6316879" y="2554296"/>
                </a:cubicBez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4" name="Forma Livre 24">
            <a:extLst>
              <a:ext uri="{FF2B5EF4-FFF2-40B4-BE49-F238E27FC236}">
                <a16:creationId xmlns:a16="http://schemas.microsoft.com/office/drawing/2014/main" id="{E56B6223-0F23-4D87-3D46-2B2E657E6D6A}"/>
              </a:ext>
            </a:extLst>
          </p:cNvPr>
          <p:cNvSpPr/>
          <p:nvPr/>
        </p:nvSpPr>
        <p:spPr>
          <a:xfrm flipH="1">
            <a:off x="7805991" y="679568"/>
            <a:ext cx="4386008" cy="2213339"/>
          </a:xfrm>
          <a:custGeom>
            <a:avLst/>
            <a:gdLst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16879 w 6316879"/>
              <a:gd name="connsiteY5" fmla="*/ 2554296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527070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  <a:gd name="connsiteX0" fmla="*/ 6316879 w 6316879"/>
              <a:gd name="connsiteY0" fmla="*/ 0 h 3147151"/>
              <a:gd name="connsiteX1" fmla="*/ 6194514 w 6316879"/>
              <a:gd name="connsiteY1" fmla="*/ 0 h 3147151"/>
              <a:gd name="connsiteX2" fmla="*/ 0 w 6316879"/>
              <a:gd name="connsiteY2" fmla="*/ 0 h 3147151"/>
              <a:gd name="connsiteX3" fmla="*/ 0 w 6316879"/>
              <a:gd name="connsiteY3" fmla="*/ 3147151 h 3147151"/>
              <a:gd name="connsiteX4" fmla="*/ 5628491 w 6316879"/>
              <a:gd name="connsiteY4" fmla="*/ 3142383 h 3147151"/>
              <a:gd name="connsiteX5" fmla="*/ 6306719 w 6316879"/>
              <a:gd name="connsiteY5" fmla="*/ 2453374 h 3147151"/>
              <a:gd name="connsiteX6" fmla="*/ 6316879 w 6316879"/>
              <a:gd name="connsiteY6" fmla="*/ 0 h 31471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16879" h="3147151">
                <a:moveTo>
                  <a:pt x="6316879" y="0"/>
                </a:moveTo>
                <a:lnTo>
                  <a:pt x="6194514" y="0"/>
                </a:lnTo>
                <a:lnTo>
                  <a:pt x="0" y="0"/>
                </a:lnTo>
                <a:lnTo>
                  <a:pt x="0" y="3147151"/>
                </a:lnTo>
                <a:lnTo>
                  <a:pt x="5628491" y="3142383"/>
                </a:lnTo>
                <a:cubicBezTo>
                  <a:pt x="5976205" y="3142384"/>
                  <a:pt x="6306719" y="2733276"/>
                  <a:pt x="6306719" y="2453374"/>
                </a:cubicBezTo>
                <a:cubicBezTo>
                  <a:pt x="6306719" y="1601942"/>
                  <a:pt x="6316879" y="851432"/>
                  <a:pt x="6316879" y="0"/>
                </a:cubicBezTo>
                <a:close/>
              </a:path>
            </a:pathLst>
          </a:cu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pt-BR" sz="1302"/>
              <a:t>    </a:t>
            </a: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E9644F98-C0F2-8EFB-91B9-D03C52C46473}"/>
              </a:ext>
            </a:extLst>
          </p:cNvPr>
          <p:cNvSpPr txBox="1"/>
          <p:nvPr/>
        </p:nvSpPr>
        <p:spPr>
          <a:xfrm>
            <a:off x="7804734" y="768188"/>
            <a:ext cx="4245752" cy="50783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pt-BR" sz="3300" b="1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Nome do Projeto</a:t>
            </a:r>
            <a:endParaRPr lang="pt-BR" sz="3300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A3B88074-1C3D-E3B1-4ACA-2EC62AB06CB6}"/>
              </a:ext>
            </a:extLst>
          </p:cNvPr>
          <p:cNvSpPr txBox="1"/>
          <p:nvPr/>
        </p:nvSpPr>
        <p:spPr>
          <a:xfrm>
            <a:off x="10366827" y="2880743"/>
            <a:ext cx="1825171" cy="3231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pt-BR" sz="1500" dirty="0">
                <a:solidFill>
                  <a:schemeClr val="bg1"/>
                </a:solidFill>
                <a:latin typeface="Tahoma"/>
                <a:ea typeface="Tahoma"/>
                <a:cs typeface="Tahoma"/>
              </a:rPr>
              <a:t>04/2024</a:t>
            </a:r>
            <a:endParaRPr lang="pt-BR" sz="1500" dirty="0"/>
          </a:p>
        </p:txBody>
      </p:sp>
    </p:spTree>
    <p:extLst>
      <p:ext uri="{BB962C8B-B14F-4D97-AF65-F5344CB8AC3E}">
        <p14:creationId xmlns:p14="http://schemas.microsoft.com/office/powerpoint/2010/main" val="6135467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906F7BD5-F62E-E8E4-00FF-95EDB8280B48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170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02"/>
          </a:p>
        </p:txBody>
      </p:sp>
      <p:sp>
        <p:nvSpPr>
          <p:cNvPr id="3" name="Forma Livre 23">
            <a:extLst>
              <a:ext uri="{FF2B5EF4-FFF2-40B4-BE49-F238E27FC236}">
                <a16:creationId xmlns:a16="http://schemas.microsoft.com/office/drawing/2014/main" id="{C0562C2A-9316-24C2-8531-CA6A023C0069}"/>
              </a:ext>
            </a:extLst>
          </p:cNvPr>
          <p:cNvSpPr/>
          <p:nvPr/>
        </p:nvSpPr>
        <p:spPr>
          <a:xfrm rot="10800000">
            <a:off x="621904" y="0"/>
            <a:ext cx="11570095" cy="6278594"/>
          </a:xfrm>
          <a:custGeom>
            <a:avLst/>
            <a:gdLst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22922 w 16635199"/>
              <a:gd name="connsiteY8" fmla="*/ 893001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0" fmla="*/ 16635199 w 16635199"/>
              <a:gd name="connsiteY0" fmla="*/ 9014942 h 9014942"/>
              <a:gd name="connsiteX1" fmla="*/ 2 w 16635199"/>
              <a:gd name="connsiteY1" fmla="*/ 9014942 h 9014942"/>
              <a:gd name="connsiteX2" fmla="*/ 2 w 16635199"/>
              <a:gd name="connsiteY2" fmla="*/ 7678736 h 9014942"/>
              <a:gd name="connsiteX3" fmla="*/ 0 w 16635199"/>
              <a:gd name="connsiteY3" fmla="*/ 7678736 h 9014942"/>
              <a:gd name="connsiteX4" fmla="*/ 0 w 16635199"/>
              <a:gd name="connsiteY4" fmla="*/ 0 h 9014942"/>
              <a:gd name="connsiteX5" fmla="*/ 924138 w 16635199"/>
              <a:gd name="connsiteY5" fmla="*/ 0 h 9014942"/>
              <a:gd name="connsiteX6" fmla="*/ 924138 w 16635199"/>
              <a:gd name="connsiteY6" fmla="*/ 1 h 9014942"/>
              <a:gd name="connsiteX7" fmla="*/ 15729923 w 16635199"/>
              <a:gd name="connsiteY7" fmla="*/ 1 h 9014942"/>
              <a:gd name="connsiteX8" fmla="*/ 16630417 w 16635199"/>
              <a:gd name="connsiteY8" fmla="*/ 1147834 h 9014942"/>
              <a:gd name="connsiteX9" fmla="*/ 16622922 w 16635199"/>
              <a:gd name="connsiteY9" fmla="*/ 5024203 h 9014942"/>
              <a:gd name="connsiteX10" fmla="*/ 16635197 w 16635199"/>
              <a:gd name="connsiteY10" fmla="*/ 5024203 h 9014942"/>
              <a:gd name="connsiteX11" fmla="*/ 16635197 w 16635199"/>
              <a:gd name="connsiteY11" fmla="*/ 7675566 h 9014942"/>
              <a:gd name="connsiteX12" fmla="*/ 16635199 w 16635199"/>
              <a:gd name="connsiteY12" fmla="*/ 7675566 h 9014942"/>
              <a:gd name="connsiteX13" fmla="*/ 16635199 w 16635199"/>
              <a:gd name="connsiteY13" fmla="*/ 9014942 h 9014942"/>
              <a:gd name="connsiteX0" fmla="*/ 16635199 w 16635199"/>
              <a:gd name="connsiteY0" fmla="*/ 9029931 h 9029931"/>
              <a:gd name="connsiteX1" fmla="*/ 2 w 16635199"/>
              <a:gd name="connsiteY1" fmla="*/ 9029931 h 9029931"/>
              <a:gd name="connsiteX2" fmla="*/ 2 w 16635199"/>
              <a:gd name="connsiteY2" fmla="*/ 7693725 h 9029931"/>
              <a:gd name="connsiteX3" fmla="*/ 0 w 16635199"/>
              <a:gd name="connsiteY3" fmla="*/ 7693725 h 9029931"/>
              <a:gd name="connsiteX4" fmla="*/ 0 w 16635199"/>
              <a:gd name="connsiteY4" fmla="*/ 14989 h 9029931"/>
              <a:gd name="connsiteX5" fmla="*/ 924138 w 16635199"/>
              <a:gd name="connsiteY5" fmla="*/ 14989 h 9029931"/>
              <a:gd name="connsiteX6" fmla="*/ 924138 w 16635199"/>
              <a:gd name="connsiteY6" fmla="*/ 14990 h 9029931"/>
              <a:gd name="connsiteX7" fmla="*/ 15617497 w 16635199"/>
              <a:gd name="connsiteY7" fmla="*/ 0 h 9029931"/>
              <a:gd name="connsiteX8" fmla="*/ 16630417 w 16635199"/>
              <a:gd name="connsiteY8" fmla="*/ 1162823 h 9029931"/>
              <a:gd name="connsiteX9" fmla="*/ 16622922 w 16635199"/>
              <a:gd name="connsiteY9" fmla="*/ 5039192 h 9029931"/>
              <a:gd name="connsiteX10" fmla="*/ 16635197 w 16635199"/>
              <a:gd name="connsiteY10" fmla="*/ 5039192 h 9029931"/>
              <a:gd name="connsiteX11" fmla="*/ 16635197 w 16635199"/>
              <a:gd name="connsiteY11" fmla="*/ 7690555 h 9029931"/>
              <a:gd name="connsiteX12" fmla="*/ 16635199 w 16635199"/>
              <a:gd name="connsiteY12" fmla="*/ 7690555 h 9029931"/>
              <a:gd name="connsiteX13" fmla="*/ 16635199 w 16635199"/>
              <a:gd name="connsiteY13" fmla="*/ 9029931 h 9029931"/>
              <a:gd name="connsiteX0" fmla="*/ 16635199 w 16635199"/>
              <a:gd name="connsiteY0" fmla="*/ 9029992 h 9029992"/>
              <a:gd name="connsiteX1" fmla="*/ 2 w 16635199"/>
              <a:gd name="connsiteY1" fmla="*/ 9029992 h 9029992"/>
              <a:gd name="connsiteX2" fmla="*/ 2 w 16635199"/>
              <a:gd name="connsiteY2" fmla="*/ 7693786 h 9029992"/>
              <a:gd name="connsiteX3" fmla="*/ 0 w 16635199"/>
              <a:gd name="connsiteY3" fmla="*/ 7693786 h 9029992"/>
              <a:gd name="connsiteX4" fmla="*/ 0 w 16635199"/>
              <a:gd name="connsiteY4" fmla="*/ 15050 h 9029992"/>
              <a:gd name="connsiteX5" fmla="*/ 924138 w 16635199"/>
              <a:gd name="connsiteY5" fmla="*/ 15050 h 9029992"/>
              <a:gd name="connsiteX6" fmla="*/ 924138 w 16635199"/>
              <a:gd name="connsiteY6" fmla="*/ 15051 h 9029992"/>
              <a:gd name="connsiteX7" fmla="*/ 15617497 w 16635199"/>
              <a:gd name="connsiteY7" fmla="*/ 61 h 9029992"/>
              <a:gd name="connsiteX8" fmla="*/ 16630417 w 16635199"/>
              <a:gd name="connsiteY8" fmla="*/ 1162884 h 9029992"/>
              <a:gd name="connsiteX9" fmla="*/ 16622922 w 16635199"/>
              <a:gd name="connsiteY9" fmla="*/ 5039253 h 9029992"/>
              <a:gd name="connsiteX10" fmla="*/ 16635197 w 16635199"/>
              <a:gd name="connsiteY10" fmla="*/ 5039253 h 9029992"/>
              <a:gd name="connsiteX11" fmla="*/ 16635197 w 16635199"/>
              <a:gd name="connsiteY11" fmla="*/ 7690616 h 9029992"/>
              <a:gd name="connsiteX12" fmla="*/ 16635199 w 16635199"/>
              <a:gd name="connsiteY12" fmla="*/ 7690616 h 9029992"/>
              <a:gd name="connsiteX13" fmla="*/ 16635199 w 16635199"/>
              <a:gd name="connsiteY13" fmla="*/ 9029992 h 9029992"/>
              <a:gd name="connsiteX0" fmla="*/ 16635199 w 16635199"/>
              <a:gd name="connsiteY0" fmla="*/ 9037488 h 9037488"/>
              <a:gd name="connsiteX1" fmla="*/ 2 w 16635199"/>
              <a:gd name="connsiteY1" fmla="*/ 9037488 h 9037488"/>
              <a:gd name="connsiteX2" fmla="*/ 2 w 16635199"/>
              <a:gd name="connsiteY2" fmla="*/ 7701282 h 9037488"/>
              <a:gd name="connsiteX3" fmla="*/ 0 w 16635199"/>
              <a:gd name="connsiteY3" fmla="*/ 7701282 h 9037488"/>
              <a:gd name="connsiteX4" fmla="*/ 0 w 16635199"/>
              <a:gd name="connsiteY4" fmla="*/ 22546 h 9037488"/>
              <a:gd name="connsiteX5" fmla="*/ 924138 w 16635199"/>
              <a:gd name="connsiteY5" fmla="*/ 22546 h 9037488"/>
              <a:gd name="connsiteX6" fmla="*/ 924138 w 16635199"/>
              <a:gd name="connsiteY6" fmla="*/ 22547 h 9037488"/>
              <a:gd name="connsiteX7" fmla="*/ 15527556 w 16635199"/>
              <a:gd name="connsiteY7" fmla="*/ 61 h 9037488"/>
              <a:gd name="connsiteX8" fmla="*/ 16630417 w 16635199"/>
              <a:gd name="connsiteY8" fmla="*/ 1170380 h 9037488"/>
              <a:gd name="connsiteX9" fmla="*/ 16622922 w 16635199"/>
              <a:gd name="connsiteY9" fmla="*/ 5046749 h 9037488"/>
              <a:gd name="connsiteX10" fmla="*/ 16635197 w 16635199"/>
              <a:gd name="connsiteY10" fmla="*/ 5046749 h 9037488"/>
              <a:gd name="connsiteX11" fmla="*/ 16635197 w 16635199"/>
              <a:gd name="connsiteY11" fmla="*/ 7698112 h 9037488"/>
              <a:gd name="connsiteX12" fmla="*/ 16635199 w 16635199"/>
              <a:gd name="connsiteY12" fmla="*/ 7698112 h 9037488"/>
              <a:gd name="connsiteX13" fmla="*/ 16635199 w 16635199"/>
              <a:gd name="connsiteY13" fmla="*/ 9037488 h 9037488"/>
              <a:gd name="connsiteX0" fmla="*/ 16635199 w 16635199"/>
              <a:gd name="connsiteY0" fmla="*/ 9037666 h 9037666"/>
              <a:gd name="connsiteX1" fmla="*/ 2 w 16635199"/>
              <a:gd name="connsiteY1" fmla="*/ 9037666 h 9037666"/>
              <a:gd name="connsiteX2" fmla="*/ 2 w 16635199"/>
              <a:gd name="connsiteY2" fmla="*/ 7701460 h 9037666"/>
              <a:gd name="connsiteX3" fmla="*/ 0 w 16635199"/>
              <a:gd name="connsiteY3" fmla="*/ 7701460 h 9037666"/>
              <a:gd name="connsiteX4" fmla="*/ 0 w 16635199"/>
              <a:gd name="connsiteY4" fmla="*/ 22724 h 9037666"/>
              <a:gd name="connsiteX5" fmla="*/ 924138 w 16635199"/>
              <a:gd name="connsiteY5" fmla="*/ 22724 h 9037666"/>
              <a:gd name="connsiteX6" fmla="*/ 924138 w 16635199"/>
              <a:gd name="connsiteY6" fmla="*/ 22725 h 9037666"/>
              <a:gd name="connsiteX7" fmla="*/ 15527556 w 16635199"/>
              <a:gd name="connsiteY7" fmla="*/ 239 h 9037666"/>
              <a:gd name="connsiteX8" fmla="*/ 16630417 w 16635199"/>
              <a:gd name="connsiteY8" fmla="*/ 1170558 h 9037666"/>
              <a:gd name="connsiteX9" fmla="*/ 16622922 w 16635199"/>
              <a:gd name="connsiteY9" fmla="*/ 5046927 h 9037666"/>
              <a:gd name="connsiteX10" fmla="*/ 16635197 w 16635199"/>
              <a:gd name="connsiteY10" fmla="*/ 5046927 h 9037666"/>
              <a:gd name="connsiteX11" fmla="*/ 16635197 w 16635199"/>
              <a:gd name="connsiteY11" fmla="*/ 7698290 h 9037666"/>
              <a:gd name="connsiteX12" fmla="*/ 16635199 w 16635199"/>
              <a:gd name="connsiteY12" fmla="*/ 7698290 h 9037666"/>
              <a:gd name="connsiteX13" fmla="*/ 16635199 w 16635199"/>
              <a:gd name="connsiteY13" fmla="*/ 9037666 h 903766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37726 h 9037726"/>
              <a:gd name="connsiteX1" fmla="*/ 2 w 16635199"/>
              <a:gd name="connsiteY1" fmla="*/ 9037726 h 9037726"/>
              <a:gd name="connsiteX2" fmla="*/ 2 w 16635199"/>
              <a:gd name="connsiteY2" fmla="*/ 7701520 h 9037726"/>
              <a:gd name="connsiteX3" fmla="*/ 0 w 16635199"/>
              <a:gd name="connsiteY3" fmla="*/ 7701520 h 9037726"/>
              <a:gd name="connsiteX4" fmla="*/ 0 w 16635199"/>
              <a:gd name="connsiteY4" fmla="*/ 22784 h 9037726"/>
              <a:gd name="connsiteX5" fmla="*/ 924138 w 16635199"/>
              <a:gd name="connsiteY5" fmla="*/ 22784 h 9037726"/>
              <a:gd name="connsiteX6" fmla="*/ 924138 w 16635199"/>
              <a:gd name="connsiteY6" fmla="*/ 22785 h 9037726"/>
              <a:gd name="connsiteX7" fmla="*/ 15527556 w 16635199"/>
              <a:gd name="connsiteY7" fmla="*/ 299 h 9037726"/>
              <a:gd name="connsiteX8" fmla="*/ 16630417 w 16635199"/>
              <a:gd name="connsiteY8" fmla="*/ 1170618 h 9037726"/>
              <a:gd name="connsiteX9" fmla="*/ 16622922 w 16635199"/>
              <a:gd name="connsiteY9" fmla="*/ 5046987 h 9037726"/>
              <a:gd name="connsiteX10" fmla="*/ 16635197 w 16635199"/>
              <a:gd name="connsiteY10" fmla="*/ 5046987 h 9037726"/>
              <a:gd name="connsiteX11" fmla="*/ 16635197 w 16635199"/>
              <a:gd name="connsiteY11" fmla="*/ 7698350 h 9037726"/>
              <a:gd name="connsiteX12" fmla="*/ 16635199 w 16635199"/>
              <a:gd name="connsiteY12" fmla="*/ 7698350 h 9037726"/>
              <a:gd name="connsiteX13" fmla="*/ 16635199 w 16635199"/>
              <a:gd name="connsiteY13" fmla="*/ 9037726 h 9037726"/>
              <a:gd name="connsiteX0" fmla="*/ 16635199 w 16635199"/>
              <a:gd name="connsiteY0" fmla="*/ 9051166 h 9051166"/>
              <a:gd name="connsiteX1" fmla="*/ 2 w 16635199"/>
              <a:gd name="connsiteY1" fmla="*/ 9051166 h 9051166"/>
              <a:gd name="connsiteX2" fmla="*/ 2 w 16635199"/>
              <a:gd name="connsiteY2" fmla="*/ 7714960 h 9051166"/>
              <a:gd name="connsiteX3" fmla="*/ 0 w 16635199"/>
              <a:gd name="connsiteY3" fmla="*/ 7714960 h 9051166"/>
              <a:gd name="connsiteX4" fmla="*/ 0 w 16635199"/>
              <a:gd name="connsiteY4" fmla="*/ 36224 h 9051166"/>
              <a:gd name="connsiteX5" fmla="*/ 924138 w 16635199"/>
              <a:gd name="connsiteY5" fmla="*/ 36224 h 9051166"/>
              <a:gd name="connsiteX6" fmla="*/ 924138 w 16635199"/>
              <a:gd name="connsiteY6" fmla="*/ 36225 h 9051166"/>
              <a:gd name="connsiteX7" fmla="*/ 15245168 w 16635199"/>
              <a:gd name="connsiteY7" fmla="*/ 292 h 9051166"/>
              <a:gd name="connsiteX8" fmla="*/ 16630417 w 16635199"/>
              <a:gd name="connsiteY8" fmla="*/ 1184058 h 9051166"/>
              <a:gd name="connsiteX9" fmla="*/ 16622922 w 16635199"/>
              <a:gd name="connsiteY9" fmla="*/ 5060427 h 9051166"/>
              <a:gd name="connsiteX10" fmla="*/ 16635197 w 16635199"/>
              <a:gd name="connsiteY10" fmla="*/ 5060427 h 9051166"/>
              <a:gd name="connsiteX11" fmla="*/ 16635197 w 16635199"/>
              <a:gd name="connsiteY11" fmla="*/ 7711790 h 9051166"/>
              <a:gd name="connsiteX12" fmla="*/ 16635199 w 16635199"/>
              <a:gd name="connsiteY12" fmla="*/ 7711790 h 9051166"/>
              <a:gd name="connsiteX13" fmla="*/ 16635199 w 16635199"/>
              <a:gd name="connsiteY13" fmla="*/ 9051166 h 9051166"/>
              <a:gd name="connsiteX0" fmla="*/ 16635199 w 16635199"/>
              <a:gd name="connsiteY0" fmla="*/ 9051116 h 9051116"/>
              <a:gd name="connsiteX1" fmla="*/ 2 w 16635199"/>
              <a:gd name="connsiteY1" fmla="*/ 9051116 h 9051116"/>
              <a:gd name="connsiteX2" fmla="*/ 2 w 16635199"/>
              <a:gd name="connsiteY2" fmla="*/ 7714910 h 9051116"/>
              <a:gd name="connsiteX3" fmla="*/ 0 w 16635199"/>
              <a:gd name="connsiteY3" fmla="*/ 7714910 h 9051116"/>
              <a:gd name="connsiteX4" fmla="*/ 0 w 16635199"/>
              <a:gd name="connsiteY4" fmla="*/ 36174 h 9051116"/>
              <a:gd name="connsiteX5" fmla="*/ 924138 w 16635199"/>
              <a:gd name="connsiteY5" fmla="*/ 36174 h 9051116"/>
              <a:gd name="connsiteX6" fmla="*/ 924138 w 16635199"/>
              <a:gd name="connsiteY6" fmla="*/ 36175 h 9051116"/>
              <a:gd name="connsiteX7" fmla="*/ 15245168 w 16635199"/>
              <a:gd name="connsiteY7" fmla="*/ 242 h 9051116"/>
              <a:gd name="connsiteX8" fmla="*/ 16616970 w 16635199"/>
              <a:gd name="connsiteY8" fmla="*/ 1305031 h 9051116"/>
              <a:gd name="connsiteX9" fmla="*/ 16622922 w 16635199"/>
              <a:gd name="connsiteY9" fmla="*/ 5060377 h 9051116"/>
              <a:gd name="connsiteX10" fmla="*/ 16635197 w 16635199"/>
              <a:gd name="connsiteY10" fmla="*/ 5060377 h 9051116"/>
              <a:gd name="connsiteX11" fmla="*/ 16635197 w 16635199"/>
              <a:gd name="connsiteY11" fmla="*/ 7711740 h 9051116"/>
              <a:gd name="connsiteX12" fmla="*/ 16635199 w 16635199"/>
              <a:gd name="connsiteY12" fmla="*/ 7711740 h 9051116"/>
              <a:gd name="connsiteX13" fmla="*/ 16635199 w 16635199"/>
              <a:gd name="connsiteY13" fmla="*/ 9051116 h 9051116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245168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1869 h 9051869"/>
              <a:gd name="connsiteX1" fmla="*/ 2 w 16635199"/>
              <a:gd name="connsiteY1" fmla="*/ 9051869 h 9051869"/>
              <a:gd name="connsiteX2" fmla="*/ 2 w 16635199"/>
              <a:gd name="connsiteY2" fmla="*/ 7715663 h 9051869"/>
              <a:gd name="connsiteX3" fmla="*/ 0 w 16635199"/>
              <a:gd name="connsiteY3" fmla="*/ 7715663 h 9051869"/>
              <a:gd name="connsiteX4" fmla="*/ 0 w 16635199"/>
              <a:gd name="connsiteY4" fmla="*/ 36927 h 9051869"/>
              <a:gd name="connsiteX5" fmla="*/ 924138 w 16635199"/>
              <a:gd name="connsiteY5" fmla="*/ 36927 h 9051869"/>
              <a:gd name="connsiteX6" fmla="*/ 924138 w 16635199"/>
              <a:gd name="connsiteY6" fmla="*/ 36928 h 9051869"/>
              <a:gd name="connsiteX7" fmla="*/ 15048399 w 16635199"/>
              <a:gd name="connsiteY7" fmla="*/ 995 h 9051869"/>
              <a:gd name="connsiteX8" fmla="*/ 16616970 w 16635199"/>
              <a:gd name="connsiteY8" fmla="*/ 1305784 h 9051869"/>
              <a:gd name="connsiteX9" fmla="*/ 16622922 w 16635199"/>
              <a:gd name="connsiteY9" fmla="*/ 5061130 h 9051869"/>
              <a:gd name="connsiteX10" fmla="*/ 16635197 w 16635199"/>
              <a:gd name="connsiteY10" fmla="*/ 5061130 h 9051869"/>
              <a:gd name="connsiteX11" fmla="*/ 16635197 w 16635199"/>
              <a:gd name="connsiteY11" fmla="*/ 7712493 h 9051869"/>
              <a:gd name="connsiteX12" fmla="*/ 16635199 w 16635199"/>
              <a:gd name="connsiteY12" fmla="*/ 7712493 h 9051869"/>
              <a:gd name="connsiteX13" fmla="*/ 16635199 w 16635199"/>
              <a:gd name="connsiteY13" fmla="*/ 9051869 h 9051869"/>
              <a:gd name="connsiteX0" fmla="*/ 16635199 w 16635199"/>
              <a:gd name="connsiteY0" fmla="*/ 9052697 h 9052697"/>
              <a:gd name="connsiteX1" fmla="*/ 2 w 16635199"/>
              <a:gd name="connsiteY1" fmla="*/ 9052697 h 9052697"/>
              <a:gd name="connsiteX2" fmla="*/ 2 w 16635199"/>
              <a:gd name="connsiteY2" fmla="*/ 7716491 h 9052697"/>
              <a:gd name="connsiteX3" fmla="*/ 0 w 16635199"/>
              <a:gd name="connsiteY3" fmla="*/ 7716491 h 9052697"/>
              <a:gd name="connsiteX4" fmla="*/ 0 w 16635199"/>
              <a:gd name="connsiteY4" fmla="*/ 37755 h 9052697"/>
              <a:gd name="connsiteX5" fmla="*/ 924138 w 16635199"/>
              <a:gd name="connsiteY5" fmla="*/ 37755 h 9052697"/>
              <a:gd name="connsiteX6" fmla="*/ 924138 w 16635199"/>
              <a:gd name="connsiteY6" fmla="*/ 37756 h 9052697"/>
              <a:gd name="connsiteX7" fmla="*/ 15048399 w 16635199"/>
              <a:gd name="connsiteY7" fmla="*/ 1823 h 9052697"/>
              <a:gd name="connsiteX8" fmla="*/ 16616970 w 16635199"/>
              <a:gd name="connsiteY8" fmla="*/ 1306612 h 9052697"/>
              <a:gd name="connsiteX9" fmla="*/ 16622922 w 16635199"/>
              <a:gd name="connsiteY9" fmla="*/ 5061958 h 9052697"/>
              <a:gd name="connsiteX10" fmla="*/ 16635197 w 16635199"/>
              <a:gd name="connsiteY10" fmla="*/ 5061958 h 9052697"/>
              <a:gd name="connsiteX11" fmla="*/ 16635197 w 16635199"/>
              <a:gd name="connsiteY11" fmla="*/ 7713321 h 9052697"/>
              <a:gd name="connsiteX12" fmla="*/ 16635199 w 16635199"/>
              <a:gd name="connsiteY12" fmla="*/ 7713321 h 9052697"/>
              <a:gd name="connsiteX13" fmla="*/ 16635199 w 16635199"/>
              <a:gd name="connsiteY13" fmla="*/ 9052697 h 9052697"/>
              <a:gd name="connsiteX0" fmla="*/ 16635199 w 16651694"/>
              <a:gd name="connsiteY0" fmla="*/ 9052726 h 9052726"/>
              <a:gd name="connsiteX1" fmla="*/ 2 w 16651694"/>
              <a:gd name="connsiteY1" fmla="*/ 9052726 h 9052726"/>
              <a:gd name="connsiteX2" fmla="*/ 2 w 16651694"/>
              <a:gd name="connsiteY2" fmla="*/ 7716520 h 9052726"/>
              <a:gd name="connsiteX3" fmla="*/ 0 w 16651694"/>
              <a:gd name="connsiteY3" fmla="*/ 7716520 h 9052726"/>
              <a:gd name="connsiteX4" fmla="*/ 0 w 16651694"/>
              <a:gd name="connsiteY4" fmla="*/ 37784 h 9052726"/>
              <a:gd name="connsiteX5" fmla="*/ 924138 w 16651694"/>
              <a:gd name="connsiteY5" fmla="*/ 37784 h 9052726"/>
              <a:gd name="connsiteX6" fmla="*/ 924138 w 16651694"/>
              <a:gd name="connsiteY6" fmla="*/ 37785 h 9052726"/>
              <a:gd name="connsiteX7" fmla="*/ 15048399 w 16651694"/>
              <a:gd name="connsiteY7" fmla="*/ 1852 h 9052726"/>
              <a:gd name="connsiteX8" fmla="*/ 16651694 w 16651694"/>
              <a:gd name="connsiteY8" fmla="*/ 1295066 h 9052726"/>
              <a:gd name="connsiteX9" fmla="*/ 16622922 w 16651694"/>
              <a:gd name="connsiteY9" fmla="*/ 5061987 h 9052726"/>
              <a:gd name="connsiteX10" fmla="*/ 16635197 w 16651694"/>
              <a:gd name="connsiteY10" fmla="*/ 5061987 h 9052726"/>
              <a:gd name="connsiteX11" fmla="*/ 16635197 w 16651694"/>
              <a:gd name="connsiteY11" fmla="*/ 7713350 h 9052726"/>
              <a:gd name="connsiteX12" fmla="*/ 16635199 w 16651694"/>
              <a:gd name="connsiteY12" fmla="*/ 7713350 h 9052726"/>
              <a:gd name="connsiteX13" fmla="*/ 16635199 w 16651694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35199"/>
              <a:gd name="connsiteY0" fmla="*/ 9052726 h 9052726"/>
              <a:gd name="connsiteX1" fmla="*/ 2 w 16635199"/>
              <a:gd name="connsiteY1" fmla="*/ 9052726 h 9052726"/>
              <a:gd name="connsiteX2" fmla="*/ 2 w 16635199"/>
              <a:gd name="connsiteY2" fmla="*/ 7716520 h 9052726"/>
              <a:gd name="connsiteX3" fmla="*/ 0 w 16635199"/>
              <a:gd name="connsiteY3" fmla="*/ 7716520 h 9052726"/>
              <a:gd name="connsiteX4" fmla="*/ 0 w 16635199"/>
              <a:gd name="connsiteY4" fmla="*/ 37784 h 9052726"/>
              <a:gd name="connsiteX5" fmla="*/ 924138 w 16635199"/>
              <a:gd name="connsiteY5" fmla="*/ 37784 h 9052726"/>
              <a:gd name="connsiteX6" fmla="*/ 924138 w 16635199"/>
              <a:gd name="connsiteY6" fmla="*/ 37785 h 9052726"/>
              <a:gd name="connsiteX7" fmla="*/ 15048399 w 16635199"/>
              <a:gd name="connsiteY7" fmla="*/ 1852 h 9052726"/>
              <a:gd name="connsiteX8" fmla="*/ 16605396 w 16635199"/>
              <a:gd name="connsiteY8" fmla="*/ 1295066 h 9052726"/>
              <a:gd name="connsiteX9" fmla="*/ 16622922 w 16635199"/>
              <a:gd name="connsiteY9" fmla="*/ 5061987 h 9052726"/>
              <a:gd name="connsiteX10" fmla="*/ 16635197 w 16635199"/>
              <a:gd name="connsiteY10" fmla="*/ 5061987 h 9052726"/>
              <a:gd name="connsiteX11" fmla="*/ 16635197 w 16635199"/>
              <a:gd name="connsiteY11" fmla="*/ 7713350 h 9052726"/>
              <a:gd name="connsiteX12" fmla="*/ 16635199 w 16635199"/>
              <a:gd name="connsiteY12" fmla="*/ 7713350 h 9052726"/>
              <a:gd name="connsiteX13" fmla="*/ 16635199 w 16635199"/>
              <a:gd name="connsiteY13" fmla="*/ 9052726 h 9052726"/>
              <a:gd name="connsiteX0" fmla="*/ 16635199 w 16642025"/>
              <a:gd name="connsiteY0" fmla="*/ 9052755 h 9052755"/>
              <a:gd name="connsiteX1" fmla="*/ 2 w 16642025"/>
              <a:gd name="connsiteY1" fmla="*/ 9052755 h 9052755"/>
              <a:gd name="connsiteX2" fmla="*/ 2 w 16642025"/>
              <a:gd name="connsiteY2" fmla="*/ 7716549 h 9052755"/>
              <a:gd name="connsiteX3" fmla="*/ 0 w 16642025"/>
              <a:gd name="connsiteY3" fmla="*/ 7716549 h 9052755"/>
              <a:gd name="connsiteX4" fmla="*/ 0 w 16642025"/>
              <a:gd name="connsiteY4" fmla="*/ 37813 h 9052755"/>
              <a:gd name="connsiteX5" fmla="*/ 924138 w 16642025"/>
              <a:gd name="connsiteY5" fmla="*/ 37813 h 9052755"/>
              <a:gd name="connsiteX6" fmla="*/ 924138 w 16642025"/>
              <a:gd name="connsiteY6" fmla="*/ 37814 h 9052755"/>
              <a:gd name="connsiteX7" fmla="*/ 15048399 w 16642025"/>
              <a:gd name="connsiteY7" fmla="*/ 1881 h 9052755"/>
              <a:gd name="connsiteX8" fmla="*/ 16628546 w 16642025"/>
              <a:gd name="connsiteY8" fmla="*/ 1283520 h 9052755"/>
              <a:gd name="connsiteX9" fmla="*/ 16622922 w 16642025"/>
              <a:gd name="connsiteY9" fmla="*/ 5062016 h 9052755"/>
              <a:gd name="connsiteX10" fmla="*/ 16635197 w 16642025"/>
              <a:gd name="connsiteY10" fmla="*/ 5062016 h 9052755"/>
              <a:gd name="connsiteX11" fmla="*/ 16635197 w 16642025"/>
              <a:gd name="connsiteY11" fmla="*/ 7713379 h 9052755"/>
              <a:gd name="connsiteX12" fmla="*/ 16635199 w 16642025"/>
              <a:gd name="connsiteY12" fmla="*/ 7713379 h 9052755"/>
              <a:gd name="connsiteX13" fmla="*/ 16635199 w 16642025"/>
              <a:gd name="connsiteY13" fmla="*/ 9052755 h 9052755"/>
              <a:gd name="connsiteX0" fmla="*/ 16635199 w 16642025"/>
              <a:gd name="connsiteY0" fmla="*/ 9052457 h 9052457"/>
              <a:gd name="connsiteX1" fmla="*/ 2 w 16642025"/>
              <a:gd name="connsiteY1" fmla="*/ 9052457 h 9052457"/>
              <a:gd name="connsiteX2" fmla="*/ 2 w 16642025"/>
              <a:gd name="connsiteY2" fmla="*/ 7716251 h 9052457"/>
              <a:gd name="connsiteX3" fmla="*/ 0 w 16642025"/>
              <a:gd name="connsiteY3" fmla="*/ 7716251 h 9052457"/>
              <a:gd name="connsiteX4" fmla="*/ 0 w 16642025"/>
              <a:gd name="connsiteY4" fmla="*/ 37515 h 9052457"/>
              <a:gd name="connsiteX5" fmla="*/ 924138 w 16642025"/>
              <a:gd name="connsiteY5" fmla="*/ 37515 h 9052457"/>
              <a:gd name="connsiteX6" fmla="*/ 924138 w 16642025"/>
              <a:gd name="connsiteY6" fmla="*/ 37516 h 9052457"/>
              <a:gd name="connsiteX7" fmla="*/ 15048399 w 16642025"/>
              <a:gd name="connsiteY7" fmla="*/ 1583 h 9052457"/>
              <a:gd name="connsiteX8" fmla="*/ 16628546 w 16642025"/>
              <a:gd name="connsiteY8" fmla="*/ 1283222 h 9052457"/>
              <a:gd name="connsiteX9" fmla="*/ 16622922 w 16642025"/>
              <a:gd name="connsiteY9" fmla="*/ 5061718 h 9052457"/>
              <a:gd name="connsiteX10" fmla="*/ 16635197 w 16642025"/>
              <a:gd name="connsiteY10" fmla="*/ 5061718 h 9052457"/>
              <a:gd name="connsiteX11" fmla="*/ 16635197 w 16642025"/>
              <a:gd name="connsiteY11" fmla="*/ 7713081 h 9052457"/>
              <a:gd name="connsiteX12" fmla="*/ 16635199 w 16642025"/>
              <a:gd name="connsiteY12" fmla="*/ 7713081 h 9052457"/>
              <a:gd name="connsiteX13" fmla="*/ 16635199 w 16642025"/>
              <a:gd name="connsiteY13" fmla="*/ 9052457 h 9052457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5048399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53374 h 9053374"/>
              <a:gd name="connsiteX1" fmla="*/ 2 w 16642025"/>
              <a:gd name="connsiteY1" fmla="*/ 9053374 h 9053374"/>
              <a:gd name="connsiteX2" fmla="*/ 2 w 16642025"/>
              <a:gd name="connsiteY2" fmla="*/ 7717168 h 9053374"/>
              <a:gd name="connsiteX3" fmla="*/ 0 w 16642025"/>
              <a:gd name="connsiteY3" fmla="*/ 7717168 h 9053374"/>
              <a:gd name="connsiteX4" fmla="*/ 0 w 16642025"/>
              <a:gd name="connsiteY4" fmla="*/ 38432 h 9053374"/>
              <a:gd name="connsiteX5" fmla="*/ 924138 w 16642025"/>
              <a:gd name="connsiteY5" fmla="*/ 38432 h 9053374"/>
              <a:gd name="connsiteX6" fmla="*/ 924138 w 16642025"/>
              <a:gd name="connsiteY6" fmla="*/ 38433 h 9053374"/>
              <a:gd name="connsiteX7" fmla="*/ 14990526 w 16642025"/>
              <a:gd name="connsiteY7" fmla="*/ 2500 h 9053374"/>
              <a:gd name="connsiteX8" fmla="*/ 16628546 w 16642025"/>
              <a:gd name="connsiteY8" fmla="*/ 1284139 h 9053374"/>
              <a:gd name="connsiteX9" fmla="*/ 16622922 w 16642025"/>
              <a:gd name="connsiteY9" fmla="*/ 5062635 h 9053374"/>
              <a:gd name="connsiteX10" fmla="*/ 16635197 w 16642025"/>
              <a:gd name="connsiteY10" fmla="*/ 5062635 h 9053374"/>
              <a:gd name="connsiteX11" fmla="*/ 16635197 w 16642025"/>
              <a:gd name="connsiteY11" fmla="*/ 7713998 h 9053374"/>
              <a:gd name="connsiteX12" fmla="*/ 16635199 w 16642025"/>
              <a:gd name="connsiteY12" fmla="*/ 7713998 h 9053374"/>
              <a:gd name="connsiteX13" fmla="*/ 16635199 w 16642025"/>
              <a:gd name="connsiteY13" fmla="*/ 9053374 h 9053374"/>
              <a:gd name="connsiteX0" fmla="*/ 16635199 w 16642025"/>
              <a:gd name="connsiteY0" fmla="*/ 9041833 h 9041833"/>
              <a:gd name="connsiteX1" fmla="*/ 2 w 16642025"/>
              <a:gd name="connsiteY1" fmla="*/ 9041833 h 9041833"/>
              <a:gd name="connsiteX2" fmla="*/ 2 w 16642025"/>
              <a:gd name="connsiteY2" fmla="*/ 7705627 h 9041833"/>
              <a:gd name="connsiteX3" fmla="*/ 0 w 16642025"/>
              <a:gd name="connsiteY3" fmla="*/ 7705627 h 9041833"/>
              <a:gd name="connsiteX4" fmla="*/ 0 w 16642025"/>
              <a:gd name="connsiteY4" fmla="*/ 26891 h 9041833"/>
              <a:gd name="connsiteX5" fmla="*/ 924138 w 16642025"/>
              <a:gd name="connsiteY5" fmla="*/ 26891 h 9041833"/>
              <a:gd name="connsiteX6" fmla="*/ 924138 w 16642025"/>
              <a:gd name="connsiteY6" fmla="*/ 26892 h 9041833"/>
              <a:gd name="connsiteX7" fmla="*/ 15013675 w 16642025"/>
              <a:gd name="connsiteY7" fmla="*/ 2534 h 9041833"/>
              <a:gd name="connsiteX8" fmla="*/ 16628546 w 16642025"/>
              <a:gd name="connsiteY8" fmla="*/ 1272598 h 9041833"/>
              <a:gd name="connsiteX9" fmla="*/ 16622922 w 16642025"/>
              <a:gd name="connsiteY9" fmla="*/ 5051094 h 9041833"/>
              <a:gd name="connsiteX10" fmla="*/ 16635197 w 16642025"/>
              <a:gd name="connsiteY10" fmla="*/ 5051094 h 9041833"/>
              <a:gd name="connsiteX11" fmla="*/ 16635197 w 16642025"/>
              <a:gd name="connsiteY11" fmla="*/ 7702457 h 9041833"/>
              <a:gd name="connsiteX12" fmla="*/ 16635199 w 16642025"/>
              <a:gd name="connsiteY12" fmla="*/ 7702457 h 9041833"/>
              <a:gd name="connsiteX13" fmla="*/ 16635199 w 16642025"/>
              <a:gd name="connsiteY13" fmla="*/ 9041833 h 9041833"/>
              <a:gd name="connsiteX0" fmla="*/ 16635199 w 16642025"/>
              <a:gd name="connsiteY0" fmla="*/ 9041736 h 9041736"/>
              <a:gd name="connsiteX1" fmla="*/ 2 w 16642025"/>
              <a:gd name="connsiteY1" fmla="*/ 9041736 h 9041736"/>
              <a:gd name="connsiteX2" fmla="*/ 2 w 16642025"/>
              <a:gd name="connsiteY2" fmla="*/ 7705530 h 9041736"/>
              <a:gd name="connsiteX3" fmla="*/ 0 w 16642025"/>
              <a:gd name="connsiteY3" fmla="*/ 7705530 h 9041736"/>
              <a:gd name="connsiteX4" fmla="*/ 0 w 16642025"/>
              <a:gd name="connsiteY4" fmla="*/ 26794 h 9041736"/>
              <a:gd name="connsiteX5" fmla="*/ 924138 w 16642025"/>
              <a:gd name="connsiteY5" fmla="*/ 26794 h 9041736"/>
              <a:gd name="connsiteX6" fmla="*/ 924138 w 16642025"/>
              <a:gd name="connsiteY6" fmla="*/ 26795 h 9041736"/>
              <a:gd name="connsiteX7" fmla="*/ 15013675 w 16642025"/>
              <a:gd name="connsiteY7" fmla="*/ 2437 h 9041736"/>
              <a:gd name="connsiteX8" fmla="*/ 16628546 w 16642025"/>
              <a:gd name="connsiteY8" fmla="*/ 1307225 h 9041736"/>
              <a:gd name="connsiteX9" fmla="*/ 16622922 w 16642025"/>
              <a:gd name="connsiteY9" fmla="*/ 5050997 h 9041736"/>
              <a:gd name="connsiteX10" fmla="*/ 16635197 w 16642025"/>
              <a:gd name="connsiteY10" fmla="*/ 5050997 h 9041736"/>
              <a:gd name="connsiteX11" fmla="*/ 16635197 w 16642025"/>
              <a:gd name="connsiteY11" fmla="*/ 7702360 h 9041736"/>
              <a:gd name="connsiteX12" fmla="*/ 16635199 w 16642025"/>
              <a:gd name="connsiteY12" fmla="*/ 7702360 h 9041736"/>
              <a:gd name="connsiteX13" fmla="*/ 16635199 w 16642025"/>
              <a:gd name="connsiteY13" fmla="*/ 9041736 h 9041736"/>
              <a:gd name="connsiteX0" fmla="*/ 16635199 w 16635199"/>
              <a:gd name="connsiteY0" fmla="*/ 9041767 h 9041767"/>
              <a:gd name="connsiteX1" fmla="*/ 2 w 16635199"/>
              <a:gd name="connsiteY1" fmla="*/ 9041767 h 9041767"/>
              <a:gd name="connsiteX2" fmla="*/ 2 w 16635199"/>
              <a:gd name="connsiteY2" fmla="*/ 7705561 h 9041767"/>
              <a:gd name="connsiteX3" fmla="*/ 0 w 16635199"/>
              <a:gd name="connsiteY3" fmla="*/ 7705561 h 9041767"/>
              <a:gd name="connsiteX4" fmla="*/ 0 w 16635199"/>
              <a:gd name="connsiteY4" fmla="*/ 26825 h 9041767"/>
              <a:gd name="connsiteX5" fmla="*/ 924138 w 16635199"/>
              <a:gd name="connsiteY5" fmla="*/ 26825 h 9041767"/>
              <a:gd name="connsiteX6" fmla="*/ 924138 w 16635199"/>
              <a:gd name="connsiteY6" fmla="*/ 26826 h 9041767"/>
              <a:gd name="connsiteX7" fmla="*/ 15013675 w 16635199"/>
              <a:gd name="connsiteY7" fmla="*/ 2468 h 9041767"/>
              <a:gd name="connsiteX8" fmla="*/ 16593822 w 16635199"/>
              <a:gd name="connsiteY8" fmla="*/ 1295682 h 9041767"/>
              <a:gd name="connsiteX9" fmla="*/ 16622922 w 16635199"/>
              <a:gd name="connsiteY9" fmla="*/ 5051028 h 9041767"/>
              <a:gd name="connsiteX10" fmla="*/ 16635197 w 16635199"/>
              <a:gd name="connsiteY10" fmla="*/ 5051028 h 9041767"/>
              <a:gd name="connsiteX11" fmla="*/ 16635197 w 16635199"/>
              <a:gd name="connsiteY11" fmla="*/ 7702391 h 9041767"/>
              <a:gd name="connsiteX12" fmla="*/ 16635199 w 16635199"/>
              <a:gd name="connsiteY12" fmla="*/ 7702391 h 9041767"/>
              <a:gd name="connsiteX13" fmla="*/ 16635199 w 16635199"/>
              <a:gd name="connsiteY13" fmla="*/ 9041767 h 9041767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51060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039486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42025"/>
              <a:gd name="connsiteY0" fmla="*/ 9041799 h 9041799"/>
              <a:gd name="connsiteX1" fmla="*/ 2 w 16642025"/>
              <a:gd name="connsiteY1" fmla="*/ 9041799 h 9041799"/>
              <a:gd name="connsiteX2" fmla="*/ 2 w 16642025"/>
              <a:gd name="connsiteY2" fmla="*/ 7705593 h 9041799"/>
              <a:gd name="connsiteX3" fmla="*/ 0 w 16642025"/>
              <a:gd name="connsiteY3" fmla="*/ 7705593 h 9041799"/>
              <a:gd name="connsiteX4" fmla="*/ 0 w 16642025"/>
              <a:gd name="connsiteY4" fmla="*/ 26857 h 9041799"/>
              <a:gd name="connsiteX5" fmla="*/ 924138 w 16642025"/>
              <a:gd name="connsiteY5" fmla="*/ 26857 h 9041799"/>
              <a:gd name="connsiteX6" fmla="*/ 924138 w 16642025"/>
              <a:gd name="connsiteY6" fmla="*/ 26858 h 9041799"/>
              <a:gd name="connsiteX7" fmla="*/ 15013675 w 16642025"/>
              <a:gd name="connsiteY7" fmla="*/ 2500 h 9041799"/>
              <a:gd name="connsiteX8" fmla="*/ 16628546 w 16642025"/>
              <a:gd name="connsiteY8" fmla="*/ 1284139 h 9041799"/>
              <a:gd name="connsiteX9" fmla="*/ 16622922 w 16642025"/>
              <a:gd name="connsiteY9" fmla="*/ 5051060 h 9041799"/>
              <a:gd name="connsiteX10" fmla="*/ 16635197 w 16642025"/>
              <a:gd name="connsiteY10" fmla="*/ 5201532 h 9041799"/>
              <a:gd name="connsiteX11" fmla="*/ 16635197 w 16642025"/>
              <a:gd name="connsiteY11" fmla="*/ 7702423 h 9041799"/>
              <a:gd name="connsiteX12" fmla="*/ 16635199 w 16642025"/>
              <a:gd name="connsiteY12" fmla="*/ 7702423 h 9041799"/>
              <a:gd name="connsiteX13" fmla="*/ 16635199 w 16642025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35197 w 16650409"/>
              <a:gd name="connsiteY10" fmla="*/ 5201532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50409"/>
              <a:gd name="connsiteY0" fmla="*/ 9041799 h 9041799"/>
              <a:gd name="connsiteX1" fmla="*/ 2 w 16650409"/>
              <a:gd name="connsiteY1" fmla="*/ 9041799 h 9041799"/>
              <a:gd name="connsiteX2" fmla="*/ 2 w 16650409"/>
              <a:gd name="connsiteY2" fmla="*/ 7705593 h 9041799"/>
              <a:gd name="connsiteX3" fmla="*/ 0 w 16650409"/>
              <a:gd name="connsiteY3" fmla="*/ 7705593 h 9041799"/>
              <a:gd name="connsiteX4" fmla="*/ 0 w 16650409"/>
              <a:gd name="connsiteY4" fmla="*/ 26857 h 9041799"/>
              <a:gd name="connsiteX5" fmla="*/ 924138 w 16650409"/>
              <a:gd name="connsiteY5" fmla="*/ 26857 h 9041799"/>
              <a:gd name="connsiteX6" fmla="*/ 924138 w 16650409"/>
              <a:gd name="connsiteY6" fmla="*/ 26858 h 9041799"/>
              <a:gd name="connsiteX7" fmla="*/ 15013675 w 16650409"/>
              <a:gd name="connsiteY7" fmla="*/ 2500 h 9041799"/>
              <a:gd name="connsiteX8" fmla="*/ 16628546 w 16650409"/>
              <a:gd name="connsiteY8" fmla="*/ 1284139 h 9041799"/>
              <a:gd name="connsiteX9" fmla="*/ 16646071 w 16650409"/>
              <a:gd name="connsiteY9" fmla="*/ 4877440 h 9041799"/>
              <a:gd name="connsiteX10" fmla="*/ 16646771 w 16650409"/>
              <a:gd name="connsiteY10" fmla="*/ 5386727 h 9041799"/>
              <a:gd name="connsiteX11" fmla="*/ 16635197 w 16650409"/>
              <a:gd name="connsiteY11" fmla="*/ 7702423 h 9041799"/>
              <a:gd name="connsiteX12" fmla="*/ 16635199 w 16650409"/>
              <a:gd name="connsiteY12" fmla="*/ 7702423 h 9041799"/>
              <a:gd name="connsiteX13" fmla="*/ 16635199 w 16650409"/>
              <a:gd name="connsiteY13" fmla="*/ 9041799 h 9041799"/>
              <a:gd name="connsiteX0" fmla="*/ 16635199 w 16647120"/>
              <a:gd name="connsiteY0" fmla="*/ 9041241 h 9041241"/>
              <a:gd name="connsiteX1" fmla="*/ 2 w 16647120"/>
              <a:gd name="connsiteY1" fmla="*/ 9041241 h 9041241"/>
              <a:gd name="connsiteX2" fmla="*/ 2 w 16647120"/>
              <a:gd name="connsiteY2" fmla="*/ 7705035 h 9041241"/>
              <a:gd name="connsiteX3" fmla="*/ 0 w 16647120"/>
              <a:gd name="connsiteY3" fmla="*/ 7705035 h 9041241"/>
              <a:gd name="connsiteX4" fmla="*/ 0 w 16647120"/>
              <a:gd name="connsiteY4" fmla="*/ 26299 h 9041241"/>
              <a:gd name="connsiteX5" fmla="*/ 924138 w 16647120"/>
              <a:gd name="connsiteY5" fmla="*/ 26299 h 9041241"/>
              <a:gd name="connsiteX6" fmla="*/ 924138 w 16647120"/>
              <a:gd name="connsiteY6" fmla="*/ 26300 h 9041241"/>
              <a:gd name="connsiteX7" fmla="*/ 15013675 w 16647120"/>
              <a:gd name="connsiteY7" fmla="*/ 1942 h 9041241"/>
              <a:gd name="connsiteX8" fmla="*/ 16616971 w 16647120"/>
              <a:gd name="connsiteY8" fmla="*/ 1538224 h 9041241"/>
              <a:gd name="connsiteX9" fmla="*/ 16646071 w 16647120"/>
              <a:gd name="connsiteY9" fmla="*/ 4876882 h 9041241"/>
              <a:gd name="connsiteX10" fmla="*/ 16646771 w 16647120"/>
              <a:gd name="connsiteY10" fmla="*/ 5386169 h 9041241"/>
              <a:gd name="connsiteX11" fmla="*/ 16635197 w 16647120"/>
              <a:gd name="connsiteY11" fmla="*/ 7701865 h 9041241"/>
              <a:gd name="connsiteX12" fmla="*/ 16635199 w 16647120"/>
              <a:gd name="connsiteY12" fmla="*/ 7701865 h 9041241"/>
              <a:gd name="connsiteX13" fmla="*/ 16635199 w 16647120"/>
              <a:gd name="connsiteY13" fmla="*/ 9041241 h 9041241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7120"/>
              <a:gd name="connsiteY0" fmla="*/ 9041962 h 9041962"/>
              <a:gd name="connsiteX1" fmla="*/ 2 w 16647120"/>
              <a:gd name="connsiteY1" fmla="*/ 9041962 h 9041962"/>
              <a:gd name="connsiteX2" fmla="*/ 2 w 16647120"/>
              <a:gd name="connsiteY2" fmla="*/ 7705756 h 9041962"/>
              <a:gd name="connsiteX3" fmla="*/ 0 w 16647120"/>
              <a:gd name="connsiteY3" fmla="*/ 7705756 h 9041962"/>
              <a:gd name="connsiteX4" fmla="*/ 0 w 16647120"/>
              <a:gd name="connsiteY4" fmla="*/ 27020 h 9041962"/>
              <a:gd name="connsiteX5" fmla="*/ 924138 w 16647120"/>
              <a:gd name="connsiteY5" fmla="*/ 27020 h 9041962"/>
              <a:gd name="connsiteX6" fmla="*/ 924138 w 16647120"/>
              <a:gd name="connsiteY6" fmla="*/ 27021 h 9041962"/>
              <a:gd name="connsiteX7" fmla="*/ 15013675 w 16647120"/>
              <a:gd name="connsiteY7" fmla="*/ 2663 h 9041962"/>
              <a:gd name="connsiteX8" fmla="*/ 16616971 w 16647120"/>
              <a:gd name="connsiteY8" fmla="*/ 1538945 h 9041962"/>
              <a:gd name="connsiteX9" fmla="*/ 16646071 w 16647120"/>
              <a:gd name="connsiteY9" fmla="*/ 4877603 h 9041962"/>
              <a:gd name="connsiteX10" fmla="*/ 16646771 w 16647120"/>
              <a:gd name="connsiteY10" fmla="*/ 5386890 h 9041962"/>
              <a:gd name="connsiteX11" fmla="*/ 16635197 w 16647120"/>
              <a:gd name="connsiteY11" fmla="*/ 7702586 h 9041962"/>
              <a:gd name="connsiteX12" fmla="*/ 16635199 w 16647120"/>
              <a:gd name="connsiteY12" fmla="*/ 7702586 h 9041962"/>
              <a:gd name="connsiteX13" fmla="*/ 16635199 w 16647120"/>
              <a:gd name="connsiteY13" fmla="*/ 9041962 h 9041962"/>
              <a:gd name="connsiteX0" fmla="*/ 16635199 w 16646771"/>
              <a:gd name="connsiteY0" fmla="*/ 9041962 h 9041962"/>
              <a:gd name="connsiteX1" fmla="*/ 2 w 16646771"/>
              <a:gd name="connsiteY1" fmla="*/ 9041962 h 9041962"/>
              <a:gd name="connsiteX2" fmla="*/ 2 w 16646771"/>
              <a:gd name="connsiteY2" fmla="*/ 7705756 h 9041962"/>
              <a:gd name="connsiteX3" fmla="*/ 0 w 16646771"/>
              <a:gd name="connsiteY3" fmla="*/ 7705756 h 9041962"/>
              <a:gd name="connsiteX4" fmla="*/ 0 w 16646771"/>
              <a:gd name="connsiteY4" fmla="*/ 27020 h 9041962"/>
              <a:gd name="connsiteX5" fmla="*/ 924138 w 16646771"/>
              <a:gd name="connsiteY5" fmla="*/ 27020 h 9041962"/>
              <a:gd name="connsiteX6" fmla="*/ 924138 w 16646771"/>
              <a:gd name="connsiteY6" fmla="*/ 27021 h 9041962"/>
              <a:gd name="connsiteX7" fmla="*/ 15013675 w 16646771"/>
              <a:gd name="connsiteY7" fmla="*/ 2663 h 9041962"/>
              <a:gd name="connsiteX8" fmla="*/ 16616971 w 16646771"/>
              <a:gd name="connsiteY8" fmla="*/ 1538945 h 9041962"/>
              <a:gd name="connsiteX9" fmla="*/ 16646071 w 16646771"/>
              <a:gd name="connsiteY9" fmla="*/ 4877603 h 9041962"/>
              <a:gd name="connsiteX10" fmla="*/ 16646771 w 16646771"/>
              <a:gd name="connsiteY10" fmla="*/ 5386890 h 9041962"/>
              <a:gd name="connsiteX11" fmla="*/ 16635197 w 16646771"/>
              <a:gd name="connsiteY11" fmla="*/ 7702586 h 9041962"/>
              <a:gd name="connsiteX12" fmla="*/ 16635199 w 16646771"/>
              <a:gd name="connsiteY12" fmla="*/ 7702586 h 9041962"/>
              <a:gd name="connsiteX13" fmla="*/ 16635199 w 16646771"/>
              <a:gd name="connsiteY13" fmla="*/ 9041962 h 9041962"/>
              <a:gd name="connsiteX0" fmla="*/ 16635199 w 16663650"/>
              <a:gd name="connsiteY0" fmla="*/ 9042000 h 9042000"/>
              <a:gd name="connsiteX1" fmla="*/ 2 w 16663650"/>
              <a:gd name="connsiteY1" fmla="*/ 9042000 h 9042000"/>
              <a:gd name="connsiteX2" fmla="*/ 2 w 16663650"/>
              <a:gd name="connsiteY2" fmla="*/ 7705794 h 9042000"/>
              <a:gd name="connsiteX3" fmla="*/ 0 w 16663650"/>
              <a:gd name="connsiteY3" fmla="*/ 7705794 h 9042000"/>
              <a:gd name="connsiteX4" fmla="*/ 0 w 16663650"/>
              <a:gd name="connsiteY4" fmla="*/ 27058 h 9042000"/>
              <a:gd name="connsiteX5" fmla="*/ 924138 w 16663650"/>
              <a:gd name="connsiteY5" fmla="*/ 27058 h 9042000"/>
              <a:gd name="connsiteX6" fmla="*/ 924138 w 16663650"/>
              <a:gd name="connsiteY6" fmla="*/ 27059 h 9042000"/>
              <a:gd name="connsiteX7" fmla="*/ 15013675 w 16663650"/>
              <a:gd name="connsiteY7" fmla="*/ 2701 h 9042000"/>
              <a:gd name="connsiteX8" fmla="*/ 16663270 w 16663650"/>
              <a:gd name="connsiteY8" fmla="*/ 1527408 h 9042000"/>
              <a:gd name="connsiteX9" fmla="*/ 16646071 w 16663650"/>
              <a:gd name="connsiteY9" fmla="*/ 4877641 h 9042000"/>
              <a:gd name="connsiteX10" fmla="*/ 16646771 w 16663650"/>
              <a:gd name="connsiteY10" fmla="*/ 5386928 h 9042000"/>
              <a:gd name="connsiteX11" fmla="*/ 16635197 w 16663650"/>
              <a:gd name="connsiteY11" fmla="*/ 7702624 h 9042000"/>
              <a:gd name="connsiteX12" fmla="*/ 16635199 w 16663650"/>
              <a:gd name="connsiteY12" fmla="*/ 7702624 h 9042000"/>
              <a:gd name="connsiteX13" fmla="*/ 16635199 w 16663650"/>
              <a:gd name="connsiteY13" fmla="*/ 9042000 h 904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663650" h="9042000">
                <a:moveTo>
                  <a:pt x="16635199" y="9042000"/>
                </a:moveTo>
                <a:lnTo>
                  <a:pt x="2" y="9042000"/>
                </a:lnTo>
                <a:lnTo>
                  <a:pt x="2" y="7705794"/>
                </a:lnTo>
                <a:lnTo>
                  <a:pt x="0" y="7705794"/>
                </a:lnTo>
                <a:lnTo>
                  <a:pt x="0" y="27058"/>
                </a:lnTo>
                <a:lnTo>
                  <a:pt x="924138" y="27058"/>
                </a:lnTo>
                <a:lnTo>
                  <a:pt x="924138" y="27059"/>
                </a:lnTo>
                <a:lnTo>
                  <a:pt x="15013675" y="2701"/>
                </a:lnTo>
                <a:cubicBezTo>
                  <a:pt x="15932344" y="-51481"/>
                  <a:pt x="16683004" y="718191"/>
                  <a:pt x="16663270" y="1527408"/>
                </a:cubicBezTo>
                <a:cubicBezTo>
                  <a:pt x="16660772" y="2831106"/>
                  <a:pt x="16648569" y="3585518"/>
                  <a:pt x="16646071" y="4877641"/>
                </a:cubicBezTo>
                <a:cubicBezTo>
                  <a:pt x="16646304" y="5047403"/>
                  <a:pt x="16646538" y="5217166"/>
                  <a:pt x="16646771" y="5386928"/>
                </a:cubicBezTo>
                <a:lnTo>
                  <a:pt x="16635197" y="7702624"/>
                </a:lnTo>
                <a:lnTo>
                  <a:pt x="16635199" y="7702624"/>
                </a:lnTo>
                <a:lnTo>
                  <a:pt x="16635199" y="9042000"/>
                </a:lnTo>
                <a:close/>
              </a:path>
            </a:pathLst>
          </a:custGeom>
          <a:solidFill>
            <a:srgbClr val="80C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pt-BR" sz="1302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F2FDCB-E6A7-D256-8955-8892963E64D2}"/>
              </a:ext>
            </a:extLst>
          </p:cNvPr>
          <p:cNvSpPr txBox="1"/>
          <p:nvPr/>
        </p:nvSpPr>
        <p:spPr>
          <a:xfrm>
            <a:off x="2832286" y="581764"/>
            <a:ext cx="3847340" cy="6409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pt-BR" sz="4165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ENDA</a:t>
            </a:r>
            <a:endParaRPr lang="pt-BR" sz="2222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Gráfico 4">
            <a:extLst>
              <a:ext uri="{FF2B5EF4-FFF2-40B4-BE49-F238E27FC236}">
                <a16:creationId xmlns:a16="http://schemas.microsoft.com/office/drawing/2014/main" id="{B939424E-0C1D-16A9-8108-531726EA05E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136157" y="979033"/>
            <a:ext cx="523009" cy="523009"/>
          </a:xfrm>
          <a:prstGeom prst="rect">
            <a:avLst/>
          </a:prstGeom>
        </p:spPr>
      </p:pic>
      <p:cxnSp>
        <p:nvCxnSpPr>
          <p:cNvPr id="7" name="Conector Reto 35">
            <a:extLst>
              <a:ext uri="{FF2B5EF4-FFF2-40B4-BE49-F238E27FC236}">
                <a16:creationId xmlns:a16="http://schemas.microsoft.com/office/drawing/2014/main" id="{A0522DE0-81D8-3069-B05E-507DC0875D21}"/>
              </a:ext>
            </a:extLst>
          </p:cNvPr>
          <p:cNvCxnSpPr>
            <a:cxnSpLocks/>
          </p:cNvCxnSpPr>
          <p:nvPr/>
        </p:nvCxnSpPr>
        <p:spPr>
          <a:xfrm flipH="1">
            <a:off x="8984204" y="4453203"/>
            <a:ext cx="3240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rco 7">
            <a:extLst>
              <a:ext uri="{FF2B5EF4-FFF2-40B4-BE49-F238E27FC236}">
                <a16:creationId xmlns:a16="http://schemas.microsoft.com/office/drawing/2014/main" id="{4A48817F-A6DE-95AD-E43E-49C7F4EC2EF9}"/>
              </a:ext>
            </a:extLst>
          </p:cNvPr>
          <p:cNvSpPr/>
          <p:nvPr/>
        </p:nvSpPr>
        <p:spPr>
          <a:xfrm rot="10800000">
            <a:off x="7909340" y="2299716"/>
            <a:ext cx="2153486" cy="2153487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9" name="Conector Reto 37">
            <a:extLst>
              <a:ext uri="{FF2B5EF4-FFF2-40B4-BE49-F238E27FC236}">
                <a16:creationId xmlns:a16="http://schemas.microsoft.com/office/drawing/2014/main" id="{8078E4D6-46B5-6351-D058-A82046AA00CA}"/>
              </a:ext>
            </a:extLst>
          </p:cNvPr>
          <p:cNvCxnSpPr>
            <a:cxnSpLocks/>
          </p:cNvCxnSpPr>
          <p:nvPr/>
        </p:nvCxnSpPr>
        <p:spPr>
          <a:xfrm rot="10800000">
            <a:off x="8988211" y="2299716"/>
            <a:ext cx="17302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Arco 9">
            <a:extLst>
              <a:ext uri="{FF2B5EF4-FFF2-40B4-BE49-F238E27FC236}">
                <a16:creationId xmlns:a16="http://schemas.microsoft.com/office/drawing/2014/main" id="{9CF3521C-6395-BD5F-2E6D-BAF6B50A8F7E}"/>
              </a:ext>
            </a:extLst>
          </p:cNvPr>
          <p:cNvSpPr/>
          <p:nvPr/>
        </p:nvSpPr>
        <p:spPr>
          <a:xfrm>
            <a:off x="10168700" y="1192550"/>
            <a:ext cx="1107166" cy="1107166"/>
          </a:xfrm>
          <a:prstGeom prst="arc">
            <a:avLst>
              <a:gd name="adj1" fmla="val 16200000"/>
              <a:gd name="adj2" fmla="val 542399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302" dirty="0"/>
          </a:p>
        </p:txBody>
      </p:sp>
      <p:cxnSp>
        <p:nvCxnSpPr>
          <p:cNvPr id="11" name="Conector Reto 39">
            <a:extLst>
              <a:ext uri="{FF2B5EF4-FFF2-40B4-BE49-F238E27FC236}">
                <a16:creationId xmlns:a16="http://schemas.microsoft.com/office/drawing/2014/main" id="{6232DE98-A8FB-7076-5EEC-63F3732C7066}"/>
              </a:ext>
            </a:extLst>
          </p:cNvPr>
          <p:cNvCxnSpPr>
            <a:cxnSpLocks/>
          </p:cNvCxnSpPr>
          <p:nvPr/>
        </p:nvCxnSpPr>
        <p:spPr>
          <a:xfrm flipH="1">
            <a:off x="2659166" y="1188573"/>
            <a:ext cx="806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39">
            <a:extLst>
              <a:ext uri="{FF2B5EF4-FFF2-40B4-BE49-F238E27FC236}">
                <a16:creationId xmlns:a16="http://schemas.microsoft.com/office/drawing/2014/main" id="{8D64C9E9-A799-CD8A-AA8B-F6FECB7321BA}"/>
              </a:ext>
            </a:extLst>
          </p:cNvPr>
          <p:cNvCxnSpPr>
            <a:cxnSpLocks/>
          </p:cNvCxnSpPr>
          <p:nvPr/>
        </p:nvCxnSpPr>
        <p:spPr>
          <a:xfrm flipH="1">
            <a:off x="-18379" y="1194286"/>
            <a:ext cx="2270146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7AB7744D-41FD-6211-89E8-61B76742CC36}"/>
              </a:ext>
            </a:extLst>
          </p:cNvPr>
          <p:cNvSpPr txBox="1"/>
          <p:nvPr/>
        </p:nvSpPr>
        <p:spPr>
          <a:xfrm>
            <a:off x="1945177" y="1558068"/>
            <a:ext cx="5964161" cy="47089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Visão Geral da Soluçã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2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etalhamento do Produ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3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valiação de Mercad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4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dicadores de Resultados e Checkpoints de Projet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5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ronograma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6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Custos e Contrapartida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pt-BR" sz="3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7</a:t>
            </a:r>
            <a:r>
              <a:rPr lang="pt-BR" sz="3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nálise de </a:t>
            </a:r>
            <a:r>
              <a:rPr lang="pt-BR" sz="3000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Rs</a:t>
            </a:r>
            <a:endParaRPr lang="pt-BR" sz="3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etângulo com Único Canto Arredondado 26">
            <a:extLst>
              <a:ext uri="{FF2B5EF4-FFF2-40B4-BE49-F238E27FC236}">
                <a16:creationId xmlns:a16="http://schemas.microsoft.com/office/drawing/2014/main" id="{F505DD80-B83F-52B0-E51D-1450B42173B7}"/>
              </a:ext>
            </a:extLst>
          </p:cNvPr>
          <p:cNvSpPr/>
          <p:nvPr/>
        </p:nvSpPr>
        <p:spPr>
          <a:xfrm flipH="1">
            <a:off x="10735395" y="5659864"/>
            <a:ext cx="1456605" cy="1198136"/>
          </a:xfrm>
          <a:prstGeom prst="round1Rect">
            <a:avLst>
              <a:gd name="adj" fmla="val 322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50"/>
          </a:p>
        </p:txBody>
      </p:sp>
      <p:pic>
        <p:nvPicPr>
          <p:cNvPr id="15" name="Imagem 14">
            <a:extLst>
              <a:ext uri="{FF2B5EF4-FFF2-40B4-BE49-F238E27FC236}">
                <a16:creationId xmlns:a16="http://schemas.microsoft.com/office/drawing/2014/main" id="{F519320F-C16F-B448-1AA8-5EF904A7F37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720" y="5919862"/>
            <a:ext cx="862542" cy="633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814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crevendo diferencial/aspecto principal da solução frente ao problema a ser enfrentad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1624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texto em que o projeto está inserido – descrição e quantificação do cenário “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 e do desafio que o projeto se propõe a solucionar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bjetivos – o que se espera desenvolver e como atende as respectivas motivações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copo – o que é o projeto e o caminho de como será feito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squemático (versão mais visual) da solução aplicada em cenário real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sultados e benefícios esperados – qual a potencial aplicação da solução? Há potencial de mercado?</a:t>
            </a:r>
          </a:p>
        </p:txBody>
      </p:sp>
    </p:spTree>
    <p:extLst>
      <p:ext uri="{BB962C8B-B14F-4D97-AF65-F5344CB8AC3E}">
        <p14:creationId xmlns:p14="http://schemas.microsoft.com/office/powerpoint/2010/main" val="22153456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principais aspectos d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526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ição do principal produto do projeto (ex.: metodologia, sistema, plataforma, dispositivo), detalhando o que esperar de maneira tangível ao final do projet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 que o produto pretende fazer? Quais são os problemas que ele resolverá? Quais são os benefícios que ele oferecerá aos usuári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úblico-alvo: Quem vai usar o produto? Quais são suas necessidades e desejos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aracterísticas: Quais são as características e funcionalidades do produto? Como ele vai se comparar aos produtos concorrentes? 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reço: Quanto vai custar o produto? Ele é acessível para o público-alvo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Maturidade Tecnológica: qual o TRL inicial do produto? Qual a expectativa de atingimento? Como se dará a evolução do TRL ao longo do projeto?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1023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contextualizando o cenário de mercado e o diferencial oferecido pelo produ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46551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enário externo e oportunidad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B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reve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relação/menção de patentes, produtos existentes no mercado, produções científicas de elevado impacto que também atendam às motivações do proje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Abertura sobre o que pode ser melhorado e quais as principais tendências do mercado no tema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iferencial de mercado do produto e contribuições técnico-científicas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o produto atende a desafios ainda não contemplados pelas soluções de mercado?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a abordagem proposta difere ou melhora as abordagens anteriores (considere métodos experimentais, análises estatísticas, modelos teóricos, estudos de caso)?</a:t>
            </a:r>
          </a:p>
          <a:p>
            <a:pPr marL="180000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Patenteabilidade e potencial de mercado: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lang="pt-BR" dirty="0">
                <a:solidFill>
                  <a:srgbClr val="636463"/>
                </a:solidFill>
                <a:latin typeface="Tahoma"/>
              </a:rPr>
              <a:t>Destacar a parte do projeto passível de propriedade intelectual e descrever o tipo de pedido ou registro em questão</a:t>
            </a:r>
          </a:p>
        </p:txBody>
      </p:sp>
    </p:spTree>
    <p:extLst>
      <p:ext uri="{BB962C8B-B14F-4D97-AF65-F5344CB8AC3E}">
        <p14:creationId xmlns:p14="http://schemas.microsoft.com/office/powerpoint/2010/main" val="723911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indicadores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do projeto</a:t>
            </a:r>
            <a:endParaRPr lang="en-US" sz="2222" b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993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s indicadores de resultados do projeto permitem acompanhar o andamento do desenvolvimento e dar subsídio às análises e tomadas de decisão n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– sequência de atividades e frentes de desenvolvimento, internalização do produto e </a:t>
            </a:r>
            <a:r>
              <a:rPr lang="pt-BR" i="1" dirty="0">
                <a:solidFill>
                  <a:srgbClr val="636463"/>
                </a:solidFill>
                <a:latin typeface="Tahoma"/>
              </a:rPr>
              <a:t>follow-up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 de seu potencial retorno financeiro;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Descreva e elenque os indicadores de resultados propostos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nsiderando o cenário “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as </a:t>
            </a:r>
            <a:r>
              <a:rPr kumimoji="0" lang="pt-BR" i="1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”, calcule o valor base dos indicadores como ponto de partida para avaliação do impacto da soluçã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Organiz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de projeto descrevendo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envolvidas, os indicadores considerados e as decisões a serem tomadas em cada caso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rrelacione os indicadores e os </a:t>
            </a:r>
            <a:r>
              <a:rPr kumimoji="0" lang="pt-BR" i="1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heckpoint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com a evolução de TRL do produto ao longo do desenvolvimento do projeto.</a:t>
            </a:r>
          </a:p>
        </p:txBody>
      </p:sp>
    </p:spTree>
    <p:extLst>
      <p:ext uri="{BB962C8B-B14F-4D97-AF65-F5344CB8AC3E}">
        <p14:creationId xmlns:p14="http://schemas.microsoft.com/office/powerpoint/2010/main" val="2823622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CaixaDeTexto 10">
            <a:extLst>
              <a:ext uri="{FF2B5EF4-FFF2-40B4-BE49-F238E27FC236}">
                <a16:creationId xmlns:a16="http://schemas.microsoft.com/office/drawing/2014/main" id="{9A9B7F35-4120-B8A1-9CED-DC9D5BE43BF0}"/>
              </a:ext>
            </a:extLst>
          </p:cNvPr>
          <p:cNvSpPr txBox="1"/>
          <p:nvPr/>
        </p:nvSpPr>
        <p:spPr>
          <a:xfrm>
            <a:off x="650222" y="1174353"/>
            <a:ext cx="10528493" cy="3418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nformações </a:t>
            </a:r>
            <a:r>
              <a:rPr lang="pt-BR" sz="2000" b="1" dirty="0">
                <a:solidFill>
                  <a:srgbClr val="F58A1F"/>
                </a:solidFill>
                <a:latin typeface="Tahoma"/>
              </a:rPr>
              <a:t>n</a:t>
            </a:r>
            <a:r>
              <a:rPr kumimoji="0" lang="pt-BR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ecessárias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58A1F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nesta seção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600" b="0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ronograma de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 (template no slide a seguir);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Como garantir as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s</a:t>
            </a:r>
            <a:r>
              <a:rPr lang="pt-BR" dirty="0">
                <a:solidFill>
                  <a:srgbClr val="636463"/>
                </a:solidFill>
                <a:latin typeface="Tahoma"/>
              </a:rPr>
              <a:t>, ex.:</a:t>
            </a: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srgbClr val="636463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i) etapas de desenvolvimento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tipos de teste</a:t>
            </a:r>
          </a:p>
          <a:p>
            <a:pPr marL="637200" lvl="1" indent="-18000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(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iii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) validação dos entregáveis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l a metodologia/estratégia será aplicada em cada </a:t>
            </a:r>
            <a:r>
              <a:rPr kumimoji="0" lang="pt-BR" i="0" u="none" strike="noStrike" kern="1200" cap="none" spc="0" normalizeH="0" baseline="0" noProof="0" dirty="0" err="1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macroetapa</a:t>
            </a: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?</a:t>
            </a:r>
          </a:p>
          <a:p>
            <a:pPr marL="180000" marR="0" lvl="0" indent="-180000" algn="l" defTabSz="914400" rtl="0" eaLnBrk="1" fontAlgn="auto" latinLnBrk="0" hangingPunct="1">
              <a:spcBef>
                <a:spcPts val="50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i="0" u="none" strike="noStrike" kern="1200" cap="none" spc="0" normalizeH="0" baseline="0" noProof="0" dirty="0">
                <a:ln>
                  <a:noFill/>
                </a:ln>
                <a:solidFill>
                  <a:srgbClr val="636463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t>Quais premissas foram assumidas para o desenvolvimento dos entregáveis?</a:t>
            </a:r>
          </a:p>
        </p:txBody>
      </p:sp>
    </p:spTree>
    <p:extLst>
      <p:ext uri="{BB962C8B-B14F-4D97-AF65-F5344CB8AC3E}">
        <p14:creationId xmlns:p14="http://schemas.microsoft.com/office/powerpoint/2010/main" val="24490497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8C38F99C-5A43-9E64-FBBF-AD5A499C0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4" imgW="395" imgH="396" progId="TCLayout.ActiveDocument.1">
                  <p:embed/>
                </p:oleObj>
              </mc:Choice>
              <mc:Fallback>
                <p:oleObj name="Slide do think-cell" r:id="rId4" imgW="395" imgH="396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38F99C-5A43-9E64-FBBF-AD5A499C0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05507F4-E351-B93B-BD52-A2DD35DA6C97}"/>
              </a:ext>
            </a:extLst>
          </p:cNvPr>
          <p:cNvSpPr txBox="1"/>
          <p:nvPr/>
        </p:nvSpPr>
        <p:spPr>
          <a:xfrm>
            <a:off x="650222" y="52258"/>
            <a:ext cx="10528493" cy="79319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ion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tle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” destacando os principais marcos de entrega de </a:t>
            </a:r>
            <a:r>
              <a:rPr lang="pt-BR" sz="2222" b="1" dirty="0" err="1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VPs</a:t>
            </a:r>
            <a:r>
              <a:rPr lang="pt-BR" sz="2222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e </a:t>
            </a:r>
            <a:r>
              <a:rPr lang="pt-BR" sz="2222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eckpoints</a:t>
            </a:r>
            <a:endParaRPr lang="en-US" sz="2222" b="1" i="1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2" name="Tabela 8">
            <a:extLst>
              <a:ext uri="{FF2B5EF4-FFF2-40B4-BE49-F238E27FC236}">
                <a16:creationId xmlns:a16="http://schemas.microsoft.com/office/drawing/2014/main" id="{0B8DABC8-83DB-1A31-1DA2-7E2A6D040A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5604406"/>
              </p:ext>
            </p:extLst>
          </p:nvPr>
        </p:nvGraphicFramePr>
        <p:xfrm>
          <a:off x="11999" y="979530"/>
          <a:ext cx="12168000" cy="583200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1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0024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3348723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52061917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8983676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30088685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5433540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2246812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62517636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70948868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70074438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5661523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871788245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60338622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0916163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163438423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67376861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1511125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098288872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161236582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4108246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94022909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4253155796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61578149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429148587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980174906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ividade</a:t>
                      </a:r>
                      <a:r>
                        <a:rPr lang="en-US" sz="1400" b="1" i="0" u="none" strike="noStrike" noProof="0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en-US" sz="1400" b="1" i="0" u="none" strike="noStrike" noProof="0" dirty="0" err="1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ês</a:t>
                      </a:r>
                      <a:endParaRPr lang="en-US" sz="1400" b="1" i="0" u="none" strike="noStrike" noProof="0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2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5</a:t>
                      </a:r>
                      <a:endParaRPr lang="pt-BR" sz="1100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39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0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2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3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4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5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6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900" b="1" i="0" u="none" strike="noStrike" noProof="0" dirty="0">
                          <a:solidFill>
                            <a:srgbClr val="6D6E70"/>
                          </a:solidFill>
                          <a:effectLst/>
                          <a:latin typeface="Tahoma"/>
                          <a:ea typeface="Tahoma"/>
                          <a:cs typeface="Tahoma"/>
                        </a:rPr>
                        <a:t>4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400" b="0" i="0" u="none" strike="noStrike" kern="1200" baseline="0" noProof="0" dirty="0">
                          <a:solidFill>
                            <a:srgbClr val="6D6E7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..</a:t>
                      </a:r>
                      <a:endParaRPr lang="en-US" sz="1400" b="0" i="0" u="none" strike="noStrike" kern="1200" noProof="0" dirty="0">
                        <a:solidFill>
                          <a:srgbClr val="6D6E7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Estrela de 5 pontas 9">
            <a:extLst>
              <a:ext uri="{FF2B5EF4-FFF2-40B4-BE49-F238E27FC236}">
                <a16:creationId xmlns:a16="http://schemas.microsoft.com/office/drawing/2014/main" id="{E1F47231-8780-5BAE-2C77-EFE5F0AD42D4}"/>
              </a:ext>
            </a:extLst>
          </p:cNvPr>
          <p:cNvSpPr/>
          <p:nvPr/>
        </p:nvSpPr>
        <p:spPr>
          <a:xfrm>
            <a:off x="7722148" y="2816066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Estrela de 5 pontas 9">
            <a:extLst>
              <a:ext uri="{FF2B5EF4-FFF2-40B4-BE49-F238E27FC236}">
                <a16:creationId xmlns:a16="http://schemas.microsoft.com/office/drawing/2014/main" id="{2E2FC03C-6927-0A7E-7BE9-D03A95DD511A}"/>
              </a:ext>
            </a:extLst>
          </p:cNvPr>
          <p:cNvSpPr/>
          <p:nvPr/>
        </p:nvSpPr>
        <p:spPr>
          <a:xfrm>
            <a:off x="10216773" y="3979041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Estrela de 5 pontas 9">
            <a:extLst>
              <a:ext uri="{FF2B5EF4-FFF2-40B4-BE49-F238E27FC236}">
                <a16:creationId xmlns:a16="http://schemas.microsoft.com/office/drawing/2014/main" id="{46A11803-E479-2BDA-732D-2B3D8C4E7828}"/>
              </a:ext>
            </a:extLst>
          </p:cNvPr>
          <p:cNvSpPr/>
          <p:nvPr/>
        </p:nvSpPr>
        <p:spPr>
          <a:xfrm>
            <a:off x="10944471" y="5168648"/>
            <a:ext cx="252000" cy="252000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Retângulo 1">
            <a:extLst>
              <a:ext uri="{FF2B5EF4-FFF2-40B4-BE49-F238E27FC236}">
                <a16:creationId xmlns:a16="http://schemas.microsoft.com/office/drawing/2014/main" id="{14CF9FE5-4C13-165E-F439-3968074C899E}"/>
              </a:ext>
            </a:extLst>
          </p:cNvPr>
          <p:cNvSpPr/>
          <p:nvPr/>
        </p:nvSpPr>
        <p:spPr>
          <a:xfrm>
            <a:off x="4002257" y="3437849"/>
            <a:ext cx="4343721" cy="139184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rgbClr val="FF0000"/>
                </a:solidFill>
              </a:rPr>
              <a:t>Macro </a:t>
            </a:r>
            <a:r>
              <a:rPr lang="en-US" sz="2000" dirty="0" err="1">
                <a:solidFill>
                  <a:srgbClr val="FF0000"/>
                </a:solidFill>
              </a:rPr>
              <a:t>cronograma</a:t>
            </a:r>
            <a:r>
              <a:rPr lang="en-US" sz="2000" dirty="0">
                <a:solidFill>
                  <a:srgbClr val="FF0000"/>
                </a:solidFill>
              </a:rPr>
              <a:t> das </a:t>
            </a:r>
            <a:r>
              <a:rPr lang="en-US" sz="2000" dirty="0" err="1">
                <a:solidFill>
                  <a:srgbClr val="FF0000"/>
                </a:solidFill>
              </a:rPr>
              <a:t>principais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frentes</a:t>
            </a:r>
            <a:r>
              <a:rPr lang="en-US" sz="2000" dirty="0">
                <a:solidFill>
                  <a:srgbClr val="FF0000"/>
                </a:solidFill>
              </a:rPr>
              <a:t> de </a:t>
            </a:r>
            <a:r>
              <a:rPr lang="en-US" sz="2000" dirty="0" err="1">
                <a:solidFill>
                  <a:srgbClr val="FF0000"/>
                </a:solidFill>
              </a:rPr>
              <a:t>desenvolvimento</a:t>
            </a:r>
            <a:r>
              <a:rPr lang="en-US" sz="2000" dirty="0">
                <a:solidFill>
                  <a:srgbClr val="FF0000"/>
                </a:solidFill>
              </a:rPr>
              <a:t> e </a:t>
            </a:r>
            <a:r>
              <a:rPr lang="en-US" sz="2000" dirty="0" err="1">
                <a:solidFill>
                  <a:srgbClr val="FF0000"/>
                </a:solidFill>
              </a:rPr>
              <a:t>entregas</a:t>
            </a:r>
            <a:r>
              <a:rPr lang="en-US" sz="2000" dirty="0">
                <a:solidFill>
                  <a:srgbClr val="FF0000"/>
                </a:solidFill>
              </a:rPr>
              <a:t> do </a:t>
            </a:r>
            <a:r>
              <a:rPr lang="en-US" sz="2000" dirty="0" err="1">
                <a:solidFill>
                  <a:srgbClr val="FF0000"/>
                </a:solidFill>
              </a:rPr>
              <a:t>projeto</a:t>
            </a:r>
            <a:r>
              <a:rPr lang="en-US" sz="2000" dirty="0">
                <a:solidFill>
                  <a:srgbClr val="FF0000"/>
                </a:solidFill>
              </a:rPr>
              <a:t> (</a:t>
            </a:r>
            <a:r>
              <a:rPr lang="en-US" sz="2000" dirty="0" err="1">
                <a:solidFill>
                  <a:srgbClr val="FF0000"/>
                </a:solidFill>
              </a:rPr>
              <a:t>destacadas</a:t>
            </a:r>
            <a:r>
              <a:rPr lang="en-US" sz="2000" dirty="0">
                <a:solidFill>
                  <a:srgbClr val="FF0000"/>
                </a:solidFill>
              </a:rPr>
              <a:t> com </a:t>
            </a:r>
            <a:r>
              <a:rPr lang="en-US" sz="2000" dirty="0" err="1">
                <a:solidFill>
                  <a:srgbClr val="FF0000"/>
                </a:solidFill>
              </a:rPr>
              <a:t>estrela</a:t>
            </a:r>
            <a:r>
              <a:rPr lang="en-US" sz="2000" dirty="0">
                <a:solidFill>
                  <a:srgbClr val="FF0000"/>
                </a:solidFill>
              </a:rPr>
              <a:t>) – </a:t>
            </a:r>
            <a:r>
              <a:rPr lang="en-US" sz="2000" dirty="0" err="1">
                <a:solidFill>
                  <a:srgbClr val="FF0000"/>
                </a:solidFill>
              </a:rPr>
              <a:t>ajuste</a:t>
            </a:r>
            <a:r>
              <a:rPr lang="en-US" sz="2000" dirty="0">
                <a:solidFill>
                  <a:srgbClr val="FF0000"/>
                </a:solidFill>
              </a:rPr>
              <a:t> a </a:t>
            </a:r>
            <a:r>
              <a:rPr lang="en-US" sz="2000" dirty="0" err="1">
                <a:solidFill>
                  <a:srgbClr val="FF0000"/>
                </a:solidFill>
              </a:rPr>
              <a:t>tabela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conforme</a:t>
            </a:r>
            <a:r>
              <a:rPr lang="en-US" sz="2000" dirty="0">
                <a:solidFill>
                  <a:srgbClr val="FF0000"/>
                </a:solidFill>
              </a:rPr>
              <a:t> </a:t>
            </a:r>
            <a:r>
              <a:rPr lang="en-US" sz="2000" dirty="0" err="1">
                <a:solidFill>
                  <a:srgbClr val="FF0000"/>
                </a:solidFill>
              </a:rPr>
              <a:t>duração</a:t>
            </a:r>
            <a:endParaRPr lang="en-US" sz="2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84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Ck768lRJCy_eOcT44j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lcf76f155ced4ddcb4097134ff3c332f xmlns="8c19c69e-7bc4-4fab-978b-495419bcc32a">
      <Terms xmlns="http://schemas.microsoft.com/office/infopath/2007/PartnerControls"/>
    </lcf76f155ced4ddcb4097134ff3c332f>
    <_ip_UnifiedCompliancePolicyProperties xmlns="http://schemas.microsoft.com/sharepoint/v3" xsi:nil="true"/>
    <_Flow_SignoffStatus xmlns="8c19c69e-7bc4-4fab-978b-495419bcc32a" xsi:nil="true"/>
    <TaxCatchAll xmlns="0bc69b18-73d2-4256-ac60-b8b95ad1ced7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05F04C26E5D1D64E811D6EDC93ADF7AD" ma:contentTypeVersion="18" ma:contentTypeDescription="Crie um novo documento." ma:contentTypeScope="" ma:versionID="83565c30e5890fb1929c7209fe2be65e">
  <xsd:schema xmlns:xsd="http://www.w3.org/2001/XMLSchema" xmlns:xs="http://www.w3.org/2001/XMLSchema" xmlns:p="http://schemas.microsoft.com/office/2006/metadata/properties" xmlns:ns1="http://schemas.microsoft.com/sharepoint/v3" xmlns:ns2="8c19c69e-7bc4-4fab-978b-495419bcc32a" xmlns:ns3="0bc69b18-73d2-4256-ac60-b8b95ad1ced7" targetNamespace="http://schemas.microsoft.com/office/2006/metadata/properties" ma:root="true" ma:fieldsID="f4fa225c2f213ad7efc0ae5bb52a1910" ns1:_="" ns2:_="" ns3:_="">
    <xsd:import namespace="http://schemas.microsoft.com/sharepoint/v3"/>
    <xsd:import namespace="8c19c69e-7bc4-4fab-978b-495419bcc32a"/>
    <xsd:import namespace="0bc69b18-73d2-4256-ac60-b8b95ad1ce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1:_ip_UnifiedCompliancePolicyProperties" minOccurs="0"/>
                <xsd:element ref="ns1:_ip_UnifiedCompliancePolicyUIAction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Location" minOccurs="0"/>
                <xsd:element ref="ns2:_Flow_SignoffStatu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0" nillable="true" ma:displayName="Propriedades da Política de Conformidade Unificada" ma:hidden="true" ma:internalName="_ip_UnifiedCompliancePolicyProperties">
      <xsd:simpleType>
        <xsd:restriction base="dms:Note"/>
      </xsd:simpleType>
    </xsd:element>
    <xsd:element name="_ip_UnifiedCompliancePolicyUIAction" ma:index="11" nillable="true" ma:displayName="Ação de Interface do Usuário da Política de Conformidade Unificada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19c69e-7bc4-4fab-978b-495419bcc32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Marcações de imagem" ma:readOnly="false" ma:fieldId="{5cf76f15-5ced-4ddc-b409-7134ff3c332f}" ma:taxonomyMulti="true" ma:sspId="67fe9e97-3f2e-47d6-8eaf-87dccc3eba3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2" nillable="true" ma:displayName="Location" ma:internalName="MediaServiceLocation" ma:readOnly="true">
      <xsd:simpleType>
        <xsd:restriction base="dms:Text"/>
      </xsd:simpleType>
    </xsd:element>
    <xsd:element name="_Flow_SignoffStatus" ma:index="23" nillable="true" ma:displayName="Status de liberação" ma:internalName="Status_x0020_de_x0020_libera_x00e7__x00e3_o">
      <xsd:simpleType>
        <xsd:restriction base="dms:Text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c69b18-73d2-4256-ac60-b8b95ad1ced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e2a6088-4b89-4ff8-af64-b005b26881fe}" ma:internalName="TaxCatchAll" ma:showField="CatchAllData" ma:web="0bc69b18-73d2-4256-ac60-b8b95ad1ced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F4C9C88-B3DE-434E-A8C1-4FDDC6ADF3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0D1E0E2-634A-4D15-B8DA-985C561BB3FB}">
  <ds:schemaRefs>
    <ds:schemaRef ds:uri="http://schemas.microsoft.com/sharepoint/v3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0bc69b18-73d2-4256-ac60-b8b95ad1ced7"/>
    <ds:schemaRef ds:uri="8c19c69e-7bc4-4fab-978b-495419bcc32a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C3EAC6EF-0FA0-49F4-89C9-A39A1ED687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c19c69e-7bc4-4fab-978b-495419bcc32a"/>
    <ds:schemaRef ds:uri="0bc69b18-73d2-4256-ac60-b8b95ad1ce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439</TotalTime>
  <Words>1133</Words>
  <Application>Microsoft Office PowerPoint</Application>
  <PresentationFormat>Widescreen</PresentationFormat>
  <Paragraphs>272</Paragraphs>
  <Slides>13</Slides>
  <Notes>10</Notes>
  <HiddenSlides>1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alibri Light</vt:lpstr>
      <vt:lpstr>Tahoma</vt:lpstr>
      <vt:lpstr>Tema do Office</vt:lpstr>
      <vt:lpstr>Slide do think-cell</vt:lpstr>
      <vt:lpstr>Guia para a Apresentação Executiv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ristian Hans Correa</dc:creator>
  <cp:lastModifiedBy>Caio Oriente Pereira</cp:lastModifiedBy>
  <cp:revision>14</cp:revision>
  <dcterms:created xsi:type="dcterms:W3CDTF">2023-09-28T19:40:31Z</dcterms:created>
  <dcterms:modified xsi:type="dcterms:W3CDTF">2024-05-02T12:0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5F04C26E5D1D64E811D6EDC93ADF7AD</vt:lpwstr>
  </property>
  <property fmtid="{D5CDD505-2E9C-101B-9397-08002B2CF9AE}" pid="3" name="MSIP_Label_022f19bc-c0ef-436a-be43-be1adb274cf3_Enabled">
    <vt:lpwstr>true</vt:lpwstr>
  </property>
  <property fmtid="{D5CDD505-2E9C-101B-9397-08002B2CF9AE}" pid="4" name="MSIP_Label_022f19bc-c0ef-436a-be43-be1adb274cf3_SetDate">
    <vt:lpwstr>2023-09-28T19:40:38Z</vt:lpwstr>
  </property>
  <property fmtid="{D5CDD505-2E9C-101B-9397-08002B2CF9AE}" pid="5" name="MSIP_Label_022f19bc-c0ef-436a-be43-be1adb274cf3_Method">
    <vt:lpwstr>Standard</vt:lpwstr>
  </property>
  <property fmtid="{D5CDD505-2E9C-101B-9397-08002B2CF9AE}" pid="6" name="MSIP_Label_022f19bc-c0ef-436a-be43-be1adb274cf3_Name">
    <vt:lpwstr>Interno</vt:lpwstr>
  </property>
  <property fmtid="{D5CDD505-2E9C-101B-9397-08002B2CF9AE}" pid="7" name="MSIP_Label_022f19bc-c0ef-436a-be43-be1adb274cf3_SiteId">
    <vt:lpwstr>93546618-e20a-4fd3-a884-9e33ca7234a7</vt:lpwstr>
  </property>
  <property fmtid="{D5CDD505-2E9C-101B-9397-08002B2CF9AE}" pid="8" name="MSIP_Label_022f19bc-c0ef-436a-be43-be1adb274cf3_ActionId">
    <vt:lpwstr>c8125468-4d03-4852-8131-085c70332e42</vt:lpwstr>
  </property>
  <property fmtid="{D5CDD505-2E9C-101B-9397-08002B2CF9AE}" pid="9" name="MSIP_Label_022f19bc-c0ef-436a-be43-be1adb274cf3_ContentBits">
    <vt:lpwstr>1</vt:lpwstr>
  </property>
  <property fmtid="{D5CDD505-2E9C-101B-9397-08002B2CF9AE}" pid="10" name="ClassificationContentMarkingHeaderLocations">
    <vt:lpwstr>Tema do Office:8</vt:lpwstr>
  </property>
  <property fmtid="{D5CDD505-2E9C-101B-9397-08002B2CF9AE}" pid="11" name="ClassificationContentMarkingHeaderText">
    <vt:lpwstr>Uso Interno CPFL</vt:lpwstr>
  </property>
  <property fmtid="{D5CDD505-2E9C-101B-9397-08002B2CF9AE}" pid="12" name="MediaServiceImageTags">
    <vt:lpwstr/>
  </property>
</Properties>
</file>